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15"/>
  </p:notesMasterIdLst>
  <p:sldIdLst>
    <p:sldId id="261" r:id="rId6"/>
    <p:sldId id="269" r:id="rId7"/>
    <p:sldId id="270" r:id="rId8"/>
    <p:sldId id="275" r:id="rId9"/>
    <p:sldId id="268" r:id="rId10"/>
    <p:sldId id="264" r:id="rId11"/>
    <p:sldId id="274" r:id="rId12"/>
    <p:sldId id="277" r:id="rId13"/>
    <p:sldId id="273" r:id="rId14"/>
  </p:sldIdLst>
  <p:sldSz cx="9144000" cy="5111750"/>
  <p:notesSz cx="14255750" cy="9774238"/>
  <p:custDataLst>
    <p:tags r:id="rId16"/>
  </p:custDataLst>
  <p:defaultTextStyle>
    <a:defPPr>
      <a:defRPr lang="nb-NO"/>
    </a:defPPr>
    <a:lvl1pPr marL="0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1pPr>
    <a:lvl2pPr marL="342123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2pPr>
    <a:lvl3pPr marL="684246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3pPr>
    <a:lvl4pPr marL="1026368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4pPr>
    <a:lvl5pPr marL="1368491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5pPr>
    <a:lvl6pPr marL="1710614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6pPr>
    <a:lvl7pPr marL="2052737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7pPr>
    <a:lvl8pPr marL="2394859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8pPr>
    <a:lvl9pPr marL="2736982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921274-A243-60C3-8DB0-D7227B1AC670}" name="Lars Tennbakk Bockman" initials="LB" userId="S::lars.bockman@fornybarnorge.no::5a235df0-e381-4c4c-99ce-24b4b21fb9d1" providerId="AD"/>
  <p188:author id="{5E3A118B-92BF-8F94-E3E6-76E6F07C9213}" name="Iselin Ekeli Rønningsbakk" initials="IR" userId="S::iselin.ronningsbakk@fornybarnorge.no::187300ae-9cb6-416d-8a94-664ca977a24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7543D"/>
    <a:srgbClr val="8A00FA"/>
    <a:srgbClr val="E6D1FF"/>
    <a:srgbClr val="5F00C2"/>
    <a:srgbClr val="80F1CB"/>
    <a:srgbClr val="4BF0C5"/>
    <a:srgbClr val="00583C"/>
    <a:srgbClr val="8C00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E1F32DC-5C67-4F34-AA00-95DE7754AF96}" v="3847" dt="2025-05-07T11:49:45.082"/>
    <p1510:client id="{B4A0480E-A066-69C3-6747-D6200674DE13}" v="7" dt="2025-05-07T11:09:40.678"/>
    <p1510:client id="{EC2B28E4-0D5D-4211-A564-07AF674CA140}" v="4350" dt="2025-05-07T13:32:28.159"/>
    <p1510:client id="{F005A6CC-5FA6-3AFF-7E17-C2A975F516E2}" v="1" dt="2025-05-07T10:33:49.04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Mørk stil 1 – utheving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Mørk stil 1 – utheving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Mørk stil 1 – utheving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Mørk stil 1 – utheving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DF18680-E054-41AD-8BC1-D1AEF772440D}" styleName="Middels stil 2 – utheving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27F97BB-C833-4FB7-BDE5-3F7075034690}" styleName="Temastil 2 – utheving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emastil 2 – utheving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E3FDE45-AF77-4B5C-9715-49D594BDF05E}" styleName="Lys stil 1 – utheving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Middels stil 4 – utheving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FABFCF23-3B69-468F-B69F-88F6DE6A72F2}" styleName="Middels stil 1 – utheving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4C1A8A3-306A-4EB7-A6B1-4F7E0EB9C5D6}" styleName="Middels stil 3 – utheving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Middels stil 2 – uthev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660B408-B3CF-4A94-85FC-2B1E0A45F4A2}" styleName="Mørk stil 2 – utheving 1 / utheving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E929F9F4-4A8F-4326-A1B4-22849713DDAB}" styleName="Mørk stil 1 – utheving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06799F8-075E-4A3A-A7F6-7FBC6576F1A4}" styleName="Temastil 2 – utheving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rs Tennbakk Bockman" userId="5a235df0-e381-4c4c-99ce-24b4b21fb9d1" providerId="ADAL" clId="{2A9B793B-E7F3-45B6-8056-E74BFFFEF538}"/>
    <pc:docChg chg="undo custSel modSld">
      <pc:chgData name="Lars Tennbakk Bockman" userId="5a235df0-e381-4c4c-99ce-24b4b21fb9d1" providerId="ADAL" clId="{2A9B793B-E7F3-45B6-8056-E74BFFFEF538}" dt="2024-04-12T11:02:21.519" v="1452" actId="14100"/>
      <pc:docMkLst>
        <pc:docMk/>
      </pc:docMkLst>
      <pc:sldChg chg="modSp mod">
        <pc:chgData name="Lars Tennbakk Bockman" userId="5a235df0-e381-4c4c-99ce-24b4b21fb9d1" providerId="ADAL" clId="{2A9B793B-E7F3-45B6-8056-E74BFFFEF538}" dt="2024-04-10T12:49:44.559" v="1139" actId="20577"/>
        <pc:sldMkLst>
          <pc:docMk/>
          <pc:sldMk cId="4148148830" sldId="259"/>
        </pc:sldMkLst>
      </pc:sldChg>
      <pc:sldChg chg="addSp delSp modSp mod">
        <pc:chgData name="Lars Tennbakk Bockman" userId="5a235df0-e381-4c4c-99ce-24b4b21fb9d1" providerId="ADAL" clId="{2A9B793B-E7F3-45B6-8056-E74BFFFEF538}" dt="2024-04-10T12:52:37.290" v="1159" actId="14100"/>
        <pc:sldMkLst>
          <pc:docMk/>
          <pc:sldMk cId="362544367" sldId="264"/>
        </pc:sldMkLst>
      </pc:sldChg>
      <pc:sldChg chg="modSp mod">
        <pc:chgData name="Lars Tennbakk Bockman" userId="5a235df0-e381-4c4c-99ce-24b4b21fb9d1" providerId="ADAL" clId="{2A9B793B-E7F3-45B6-8056-E74BFFFEF538}" dt="2024-04-10T12:57:51.231" v="1442" actId="20577"/>
        <pc:sldMkLst>
          <pc:docMk/>
          <pc:sldMk cId="4169780862" sldId="274"/>
        </pc:sldMkLst>
      </pc:sldChg>
    </pc:docChg>
  </pc:docChgLst>
  <pc:docChgLst>
    <pc:chgData name="Iselin Ekeli Rønningsbakk" userId="187300ae-9cb6-416d-8a94-664ca977a24d" providerId="ADAL" clId="{6E22A7A5-741D-4F17-86EF-2AAF255A7495}"/>
    <pc:docChg chg="undo custSel delSld modSld">
      <pc:chgData name="Iselin Ekeli Rønningsbakk" userId="187300ae-9cb6-416d-8a94-664ca977a24d" providerId="ADAL" clId="{6E22A7A5-741D-4F17-86EF-2AAF255A7495}" dt="2024-12-13T14:53:38.208" v="2199" actId="2696"/>
      <pc:docMkLst>
        <pc:docMk/>
      </pc:docMkLst>
      <pc:sldChg chg="modSp del mod">
        <pc:chgData name="Iselin Ekeli Rønningsbakk" userId="187300ae-9cb6-416d-8a94-664ca977a24d" providerId="ADAL" clId="{6E22A7A5-741D-4F17-86EF-2AAF255A7495}" dt="2024-12-13T14:53:38.208" v="2199" actId="2696"/>
        <pc:sldMkLst>
          <pc:docMk/>
          <pc:sldMk cId="4148148830" sldId="259"/>
        </pc:sldMkLst>
      </pc:sldChg>
      <pc:sldChg chg="modSp mod">
        <pc:chgData name="Iselin Ekeli Rønningsbakk" userId="187300ae-9cb6-416d-8a94-664ca977a24d" providerId="ADAL" clId="{6E22A7A5-741D-4F17-86EF-2AAF255A7495}" dt="2024-12-13T14:47:31.324" v="1496" actId="6549"/>
        <pc:sldMkLst>
          <pc:docMk/>
          <pc:sldMk cId="1400664593" sldId="275"/>
        </pc:sldMkLst>
      </pc:sldChg>
    </pc:docChg>
  </pc:docChgLst>
  <pc:docChgLst>
    <pc:chgData name="Iselin Ekeli Rønningsbakk" userId="187300ae-9cb6-416d-8a94-664ca977a24d" providerId="ADAL" clId="{BE1E70E2-D39A-49B1-B6DD-553612B71992}"/>
    <pc:docChg chg="modSld">
      <pc:chgData name="Iselin Ekeli Rønningsbakk" userId="187300ae-9cb6-416d-8a94-664ca977a24d" providerId="ADAL" clId="{BE1E70E2-D39A-49B1-B6DD-553612B71992}" dt="2024-09-11T12:17:57.257" v="213" actId="20577"/>
      <pc:docMkLst>
        <pc:docMk/>
      </pc:docMkLst>
    </pc:docChg>
  </pc:docChgLst>
  <pc:docChgLst>
    <pc:chgData name="Lars Tennbakk Bockman" userId="5a235df0-e381-4c4c-99ce-24b4b21fb9d1" providerId="ADAL" clId="{83B02544-0F5E-4C44-B18B-AC7E10D8800E}"/>
    <pc:docChg chg="undo custSel modSld replTag">
      <pc:chgData name="Lars Tennbakk Bockman" userId="5a235df0-e381-4c4c-99ce-24b4b21fb9d1" providerId="ADAL" clId="{83B02544-0F5E-4C44-B18B-AC7E10D8800E}" dt="2024-04-04T08:15:12.655" v="2738" actId="13926"/>
      <pc:docMkLst>
        <pc:docMk/>
      </pc:docMkLst>
      <pc:sldChg chg="modSp mod delCm">
        <pc:chgData name="Lars Tennbakk Bockman" userId="5a235df0-e381-4c4c-99ce-24b4b21fb9d1" providerId="ADAL" clId="{83B02544-0F5E-4C44-B18B-AC7E10D8800E}" dt="2024-04-04T08:15:12.655" v="2738" actId="13926"/>
        <pc:sldMkLst>
          <pc:docMk/>
          <pc:sldMk cId="4148148830" sldId="25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Lars Tennbakk Bockman" userId="5a235df0-e381-4c4c-99ce-24b4b21fb9d1" providerId="ADAL" clId="{83B02544-0F5E-4C44-B18B-AC7E10D8800E}" dt="2024-04-03T08:49:57.781" v="9"/>
              <pc2:cmMkLst xmlns:pc2="http://schemas.microsoft.com/office/powerpoint/2019/9/main/command">
                <pc:docMk/>
                <pc:sldMk cId="4148148830" sldId="259"/>
                <pc2:cmMk id="{5A7F3826-50B9-4FC9-9604-5B3829FA2F20}"/>
              </pc2:cmMkLst>
            </pc226:cmChg>
          </p:ext>
        </pc:extLst>
      </pc:sldChg>
    </pc:docChg>
  </pc:docChgLst>
  <pc:docChgLst>
    <pc:chgData name="Lars Tennbakk Bockman" userId="5a235df0-e381-4c4c-99ce-24b4b21fb9d1" providerId="ADAL" clId="{2A5E591B-F2DD-4EC3-8AFA-672242BBBDF2}"/>
    <pc:docChg chg="custSel modSld">
      <pc:chgData name="Lars Tennbakk Bockman" userId="5a235df0-e381-4c4c-99ce-24b4b21fb9d1" providerId="ADAL" clId="{2A5E591B-F2DD-4EC3-8AFA-672242BBBDF2}" dt="2024-11-04T11:34:09.154" v="3280" actId="20577"/>
      <pc:docMkLst>
        <pc:docMk/>
      </pc:docMkLst>
    </pc:docChg>
  </pc:docChgLst>
  <pc:docChgLst>
    <pc:chgData name="Iselin Ekeli Rønningsbakk" userId="187300ae-9cb6-416d-8a94-664ca977a24d" providerId="ADAL" clId="{A4E6CF00-9136-4E39-8A4A-CD8BA2416FAB}"/>
    <pc:docChg chg="custSel addSld delSld modSld">
      <pc:chgData name="Iselin Ekeli Rønningsbakk" userId="187300ae-9cb6-416d-8a94-664ca977a24d" providerId="ADAL" clId="{A4E6CF00-9136-4E39-8A4A-CD8BA2416FAB}" dt="2025-01-08T13:57:50.272" v="8261" actId="1076"/>
      <pc:docMkLst>
        <pc:docMk/>
      </pc:docMkLst>
      <pc:sldChg chg="add del setBg">
        <pc:chgData name="Iselin Ekeli Rønningsbakk" userId="187300ae-9cb6-416d-8a94-664ca977a24d" providerId="ADAL" clId="{A4E6CF00-9136-4E39-8A4A-CD8BA2416FAB}" dt="2025-01-07T10:13:27.355" v="55"/>
        <pc:sldMkLst>
          <pc:docMk/>
          <pc:sldMk cId="1380827816" sldId="262"/>
        </pc:sldMkLst>
      </pc:sldChg>
      <pc:sldChg chg="modSp mod">
        <pc:chgData name="Iselin Ekeli Rønningsbakk" userId="187300ae-9cb6-416d-8a94-664ca977a24d" providerId="ADAL" clId="{A4E6CF00-9136-4E39-8A4A-CD8BA2416FAB}" dt="2025-01-08T13:52:01.932" v="7617" actId="255"/>
        <pc:sldMkLst>
          <pc:docMk/>
          <pc:sldMk cId="684640037" sldId="278"/>
        </pc:sldMkLst>
      </pc:sldChg>
      <pc:sldChg chg="modSp mod">
        <pc:chgData name="Iselin Ekeli Rønningsbakk" userId="187300ae-9cb6-416d-8a94-664ca977a24d" providerId="ADAL" clId="{A4E6CF00-9136-4E39-8A4A-CD8BA2416FAB}" dt="2025-01-08T13:57:50.272" v="8261" actId="1076"/>
        <pc:sldMkLst>
          <pc:docMk/>
          <pc:sldMk cId="575956772" sldId="279"/>
        </pc:sldMkLst>
      </pc:sldChg>
      <pc:sldChg chg="addSp delSp modSp add mod">
        <pc:chgData name="Iselin Ekeli Rønningsbakk" userId="187300ae-9cb6-416d-8a94-664ca977a24d" providerId="ADAL" clId="{A4E6CF00-9136-4E39-8A4A-CD8BA2416FAB}" dt="2025-01-08T12:53:07.410" v="5886" actId="6549"/>
        <pc:sldMkLst>
          <pc:docMk/>
          <pc:sldMk cId="169717518" sldId="282"/>
        </pc:sldMkLst>
      </pc:sldChg>
    </pc:docChg>
  </pc:docChgLst>
  <pc:docChgLst>
    <pc:chgData name="Iselin Ekeli Rønningsbakk" userId="187300ae-9cb6-416d-8a94-664ca977a24d" providerId="ADAL" clId="{03106EBE-8068-434C-8316-2B0B6F76A800}"/>
    <pc:docChg chg="custSel modSld">
      <pc:chgData name="Iselin Ekeli Rønningsbakk" userId="187300ae-9cb6-416d-8a94-664ca977a24d" providerId="ADAL" clId="{03106EBE-8068-434C-8316-2B0B6F76A800}" dt="2024-06-11T07:46:16.178" v="1457" actId="6549"/>
      <pc:docMkLst>
        <pc:docMk/>
      </pc:docMkLst>
    </pc:docChg>
  </pc:docChgLst>
  <pc:docChgLst>
    <pc:chgData name="Lars Tennbakk Bockman" userId="5a235df0-e381-4c4c-99ce-24b4b21fb9d1" providerId="ADAL" clId="{ABAA80D7-86DB-4885-A91A-0E4A582610D4}"/>
    <pc:docChg chg="undo custSel delSld modSld">
      <pc:chgData name="Lars Tennbakk Bockman" userId="5a235df0-e381-4c4c-99ce-24b4b21fb9d1" providerId="ADAL" clId="{ABAA80D7-86DB-4885-A91A-0E4A582610D4}" dt="2025-02-07T12:58:04.949" v="6386" actId="14826"/>
      <pc:docMkLst>
        <pc:docMk/>
      </pc:docMkLst>
      <pc:sldChg chg="addSp delSp modSp mod">
        <pc:chgData name="Lars Tennbakk Bockman" userId="5a235df0-e381-4c4c-99ce-24b4b21fb9d1" providerId="ADAL" clId="{ABAA80D7-86DB-4885-A91A-0E4A582610D4}" dt="2025-02-07T08:38:15.326" v="6282" actId="113"/>
        <pc:sldMkLst>
          <pc:docMk/>
          <pc:sldMk cId="362544367" sldId="264"/>
        </pc:sldMkLst>
        <pc:spChg chg="mod">
          <ac:chgData name="Lars Tennbakk Bockman" userId="5a235df0-e381-4c4c-99ce-24b4b21fb9d1" providerId="ADAL" clId="{ABAA80D7-86DB-4885-A91A-0E4A582610D4}" dt="2025-02-07T08:38:01.188" v="6277" actId="20577"/>
          <ac:spMkLst>
            <pc:docMk/>
            <pc:sldMk cId="362544367" sldId="264"/>
            <ac:spMk id="2" creationId="{5213922F-444B-9587-AFC4-5C4C6A8D8FDB}"/>
          </ac:spMkLst>
        </pc:spChg>
      </pc:sldChg>
      <pc:sldChg chg="modSp mod">
        <pc:chgData name="Lars Tennbakk Bockman" userId="5a235df0-e381-4c4c-99ce-24b4b21fb9d1" providerId="ADAL" clId="{ABAA80D7-86DB-4885-A91A-0E4A582610D4}" dt="2025-02-07T08:36:41.010" v="6249" actId="403"/>
        <pc:sldMkLst>
          <pc:docMk/>
          <pc:sldMk cId="3809428704" sldId="268"/>
        </pc:sldMkLst>
        <pc:spChg chg="mod">
          <ac:chgData name="Lars Tennbakk Bockman" userId="5a235df0-e381-4c4c-99ce-24b4b21fb9d1" providerId="ADAL" clId="{ABAA80D7-86DB-4885-A91A-0E4A582610D4}" dt="2025-02-07T08:36:41.010" v="6249" actId="403"/>
          <ac:spMkLst>
            <pc:docMk/>
            <pc:sldMk cId="3809428704" sldId="268"/>
            <ac:spMk id="2" creationId="{E225F7EA-99E6-543D-3D1D-6EACC2C8D6E1}"/>
          </ac:spMkLst>
        </pc:spChg>
        <pc:spChg chg="mod">
          <ac:chgData name="Lars Tennbakk Bockman" userId="5a235df0-e381-4c4c-99ce-24b4b21fb9d1" providerId="ADAL" clId="{ABAA80D7-86DB-4885-A91A-0E4A582610D4}" dt="2025-02-06T14:50:18.760" v="4750" actId="404"/>
          <ac:spMkLst>
            <pc:docMk/>
            <pc:sldMk cId="3809428704" sldId="268"/>
            <ac:spMk id="3" creationId="{8A3EFEB1-D7F7-A46E-7DED-AE462CEAB1A0}"/>
          </ac:spMkLst>
        </pc:spChg>
        <pc:spChg chg="mod">
          <ac:chgData name="Lars Tennbakk Bockman" userId="5a235df0-e381-4c4c-99ce-24b4b21fb9d1" providerId="ADAL" clId="{ABAA80D7-86DB-4885-A91A-0E4A582610D4}" dt="2025-02-06T14:46:27.371" v="3590" actId="20577"/>
          <ac:spMkLst>
            <pc:docMk/>
            <pc:sldMk cId="3809428704" sldId="268"/>
            <ac:spMk id="27" creationId="{D4479EF9-3012-3964-A9D0-6C16A3C05105}"/>
          </ac:spMkLst>
        </pc:spChg>
      </pc:sldChg>
      <pc:sldChg chg="addSp delSp modSp mod">
        <pc:chgData name="Lars Tennbakk Bockman" userId="5a235df0-e381-4c4c-99ce-24b4b21fb9d1" providerId="ADAL" clId="{ABAA80D7-86DB-4885-A91A-0E4A582610D4}" dt="2025-02-07T12:55:21.185" v="6385" actId="113"/>
        <pc:sldMkLst>
          <pc:docMk/>
          <pc:sldMk cId="4169780862" sldId="274"/>
        </pc:sldMkLst>
      </pc:sldChg>
      <pc:sldChg chg="modSp mod">
        <pc:chgData name="Lars Tennbakk Bockman" userId="5a235df0-e381-4c4c-99ce-24b4b21fb9d1" providerId="ADAL" clId="{ABAA80D7-86DB-4885-A91A-0E4A582610D4}" dt="2025-02-06T14:39:56.438" v="2954" actId="14100"/>
        <pc:sldMkLst>
          <pc:docMk/>
          <pc:sldMk cId="1400664593" sldId="275"/>
        </pc:sldMkLst>
        <pc:spChg chg="mod">
          <ac:chgData name="Lars Tennbakk Bockman" userId="5a235df0-e381-4c4c-99ce-24b4b21fb9d1" providerId="ADAL" clId="{ABAA80D7-86DB-4885-A91A-0E4A582610D4}" dt="2025-02-06T14:19:21.359" v="1835" actId="20577"/>
          <ac:spMkLst>
            <pc:docMk/>
            <pc:sldMk cId="1400664593" sldId="275"/>
            <ac:spMk id="13" creationId="{D3816D81-2F0C-5C31-0215-8B391B6646ED}"/>
          </ac:spMkLst>
        </pc:spChg>
        <pc:picChg chg="mod">
          <ac:chgData name="Lars Tennbakk Bockman" userId="5a235df0-e381-4c4c-99ce-24b4b21fb9d1" providerId="ADAL" clId="{ABAA80D7-86DB-4885-A91A-0E4A582610D4}" dt="2025-02-06T09:26:11.929" v="60" actId="14826"/>
          <ac:picMkLst>
            <pc:docMk/>
            <pc:sldMk cId="1400664593" sldId="275"/>
            <ac:picMk id="10" creationId="{EDD2A1DB-03B4-A540-E2CF-68A1C96AF138}"/>
          </ac:picMkLst>
        </pc:picChg>
        <pc:picChg chg="mod">
          <ac:chgData name="Lars Tennbakk Bockman" userId="5a235df0-e381-4c4c-99ce-24b4b21fb9d1" providerId="ADAL" clId="{ABAA80D7-86DB-4885-A91A-0E4A582610D4}" dt="2025-02-06T09:27:18.821" v="82" actId="14826"/>
          <ac:picMkLst>
            <pc:docMk/>
            <pc:sldMk cId="1400664593" sldId="275"/>
            <ac:picMk id="12" creationId="{475A88D7-D294-62B2-8755-82110AB84DD1}"/>
          </ac:picMkLst>
        </pc:picChg>
        <pc:picChg chg="mod">
          <ac:chgData name="Lars Tennbakk Bockman" userId="5a235df0-e381-4c4c-99ce-24b4b21fb9d1" providerId="ADAL" clId="{ABAA80D7-86DB-4885-A91A-0E4A582610D4}" dt="2025-02-06T09:27:21.728" v="83" actId="1076"/>
          <ac:picMkLst>
            <pc:docMk/>
            <pc:sldMk cId="1400664593" sldId="275"/>
            <ac:picMk id="1026" creationId="{A3000F04-E780-98BA-A9F5-FBB1AD330F20}"/>
          </ac:picMkLst>
        </pc:picChg>
        <pc:picChg chg="mod">
          <ac:chgData name="Lars Tennbakk Bockman" userId="5a235df0-e381-4c4c-99ce-24b4b21fb9d1" providerId="ADAL" clId="{ABAA80D7-86DB-4885-A91A-0E4A582610D4}" dt="2025-02-06T14:39:56.438" v="2954" actId="14100"/>
          <ac:picMkLst>
            <pc:docMk/>
            <pc:sldMk cId="1400664593" sldId="275"/>
            <ac:picMk id="1028" creationId="{7BD95610-1C21-5E69-CD9D-A797BAA38B11}"/>
          </ac:picMkLst>
        </pc:picChg>
        <pc:picChg chg="mod">
          <ac:chgData name="Lars Tennbakk Bockman" userId="5a235df0-e381-4c4c-99ce-24b4b21fb9d1" providerId="ADAL" clId="{ABAA80D7-86DB-4885-A91A-0E4A582610D4}" dt="2025-02-06T09:27:26.392" v="85" actId="1076"/>
          <ac:picMkLst>
            <pc:docMk/>
            <pc:sldMk cId="1400664593" sldId="275"/>
            <ac:picMk id="1030" creationId="{ACF3AF7C-A2DE-81CC-E858-516CB40827CE}"/>
          </ac:picMkLst>
        </pc:picChg>
        <pc:picChg chg="mod">
          <ac:chgData name="Lars Tennbakk Bockman" userId="5a235df0-e381-4c4c-99ce-24b4b21fb9d1" providerId="ADAL" clId="{ABAA80D7-86DB-4885-A91A-0E4A582610D4}" dt="2025-02-06T09:27:23.231" v="84" actId="1076"/>
          <ac:picMkLst>
            <pc:docMk/>
            <pc:sldMk cId="1400664593" sldId="275"/>
            <ac:picMk id="1032" creationId="{8EF0B950-C72C-D5A3-948A-06A2609A5B96}"/>
          </ac:picMkLst>
        </pc:picChg>
        <pc:picChg chg="mod">
          <ac:chgData name="Lars Tennbakk Bockman" userId="5a235df0-e381-4c4c-99ce-24b4b21fb9d1" providerId="ADAL" clId="{ABAA80D7-86DB-4885-A91A-0E4A582610D4}" dt="2025-02-06T14:39:48.078" v="2951" actId="1076"/>
          <ac:picMkLst>
            <pc:docMk/>
            <pc:sldMk cId="1400664593" sldId="275"/>
            <ac:picMk id="1034" creationId="{93E8EE5C-F00F-9D19-55F8-6D26C9255442}"/>
          </ac:picMkLst>
        </pc:picChg>
      </pc:sldChg>
      <pc:sldChg chg="modSp">
        <pc:chgData name="Lars Tennbakk Bockman" userId="5a235df0-e381-4c4c-99ce-24b4b21fb9d1" providerId="ADAL" clId="{ABAA80D7-86DB-4885-A91A-0E4A582610D4}" dt="2025-02-07T12:58:04.949" v="6386" actId="14826"/>
        <pc:sldMkLst>
          <pc:docMk/>
          <pc:sldMk cId="3048309862" sldId="277"/>
        </pc:sldMkLst>
        <pc:picChg chg="mod">
          <ac:chgData name="Lars Tennbakk Bockman" userId="5a235df0-e381-4c4c-99ce-24b4b21fb9d1" providerId="ADAL" clId="{ABAA80D7-86DB-4885-A91A-0E4A582610D4}" dt="2025-02-07T12:58:04.949" v="6386" actId="14826"/>
          <ac:picMkLst>
            <pc:docMk/>
            <pc:sldMk cId="3048309862" sldId="277"/>
            <ac:picMk id="15" creationId="{E74EA589-72EA-AA47-0E44-BCAE8A4D908E}"/>
          </ac:picMkLst>
        </pc:picChg>
      </pc:sldChg>
      <pc:sldChg chg="del">
        <pc:chgData name="Lars Tennbakk Bockman" userId="5a235df0-e381-4c4c-99ce-24b4b21fb9d1" providerId="ADAL" clId="{ABAA80D7-86DB-4885-A91A-0E4A582610D4}" dt="2025-02-07T08:36:50.925" v="6250" actId="47"/>
        <pc:sldMkLst>
          <pc:docMk/>
          <pc:sldMk cId="684640037" sldId="278"/>
        </pc:sldMkLst>
      </pc:sldChg>
      <pc:sldChg chg="del">
        <pc:chgData name="Lars Tennbakk Bockman" userId="5a235df0-e381-4c4c-99ce-24b4b21fb9d1" providerId="ADAL" clId="{ABAA80D7-86DB-4885-A91A-0E4A582610D4}" dt="2025-02-07T08:36:50.925" v="6250" actId="47"/>
        <pc:sldMkLst>
          <pc:docMk/>
          <pc:sldMk cId="575956772" sldId="279"/>
        </pc:sldMkLst>
      </pc:sldChg>
      <pc:sldChg chg="del">
        <pc:chgData name="Lars Tennbakk Bockman" userId="5a235df0-e381-4c4c-99ce-24b4b21fb9d1" providerId="ADAL" clId="{ABAA80D7-86DB-4885-A91A-0E4A582610D4}" dt="2025-02-07T08:36:58.327" v="6251" actId="47"/>
        <pc:sldMkLst>
          <pc:docMk/>
          <pc:sldMk cId="2882603907" sldId="280"/>
        </pc:sldMkLst>
      </pc:sldChg>
      <pc:sldChg chg="del">
        <pc:chgData name="Lars Tennbakk Bockman" userId="5a235df0-e381-4c4c-99ce-24b4b21fb9d1" providerId="ADAL" clId="{ABAA80D7-86DB-4885-A91A-0E4A582610D4}" dt="2025-02-07T08:36:58.327" v="6251" actId="47"/>
        <pc:sldMkLst>
          <pc:docMk/>
          <pc:sldMk cId="904067555" sldId="281"/>
        </pc:sldMkLst>
      </pc:sldChg>
      <pc:sldChg chg="del">
        <pc:chgData name="Lars Tennbakk Bockman" userId="5a235df0-e381-4c4c-99ce-24b4b21fb9d1" providerId="ADAL" clId="{ABAA80D7-86DB-4885-A91A-0E4A582610D4}" dt="2025-02-07T08:36:50.925" v="6250" actId="47"/>
        <pc:sldMkLst>
          <pc:docMk/>
          <pc:sldMk cId="169717518" sldId="282"/>
        </pc:sldMkLst>
      </pc:sldChg>
    </pc:docChg>
  </pc:docChgLst>
  <pc:docChgLst>
    <pc:chgData name="Lars Tennbakk Bockman" userId="5a235df0-e381-4c4c-99ce-24b4b21fb9d1" providerId="ADAL" clId="{4207EA29-33B7-4AC0-ABBF-C28C427A7A0B}"/>
    <pc:docChg chg="undo custSel modSld">
      <pc:chgData name="Lars Tennbakk Bockman" userId="5a235df0-e381-4c4c-99ce-24b4b21fb9d1" providerId="ADAL" clId="{4207EA29-33B7-4AC0-ABBF-C28C427A7A0B}" dt="2025-04-04T10:23:03.200" v="5294" actId="1076"/>
      <pc:docMkLst>
        <pc:docMk/>
      </pc:docMkLst>
      <pc:sldChg chg="modSp mod">
        <pc:chgData name="Lars Tennbakk Bockman" userId="5a235df0-e381-4c4c-99ce-24b4b21fb9d1" providerId="ADAL" clId="{4207EA29-33B7-4AC0-ABBF-C28C427A7A0B}" dt="2025-04-04T10:23:03.200" v="5294" actId="1076"/>
        <pc:sldMkLst>
          <pc:docMk/>
          <pc:sldMk cId="3149972175" sldId="261"/>
        </pc:sldMkLst>
        <pc:spChg chg="mod">
          <ac:chgData name="Lars Tennbakk Bockman" userId="5a235df0-e381-4c4c-99ce-24b4b21fb9d1" providerId="ADAL" clId="{4207EA29-33B7-4AC0-ABBF-C28C427A7A0B}" dt="2025-04-04T10:23:03.200" v="5294" actId="1076"/>
          <ac:spMkLst>
            <pc:docMk/>
            <pc:sldMk cId="3149972175" sldId="261"/>
            <ac:spMk id="2" creationId="{EB808BFC-B71A-C9E5-5827-2A0376474563}"/>
          </ac:spMkLst>
        </pc:spChg>
        <pc:spChg chg="mod">
          <ac:chgData name="Lars Tennbakk Bockman" userId="5a235df0-e381-4c4c-99ce-24b4b21fb9d1" providerId="ADAL" clId="{4207EA29-33B7-4AC0-ABBF-C28C427A7A0B}" dt="2025-04-04T10:23:00.609" v="5293" actId="1076"/>
          <ac:spMkLst>
            <pc:docMk/>
            <pc:sldMk cId="3149972175" sldId="261"/>
            <ac:spMk id="15" creationId="{71CD328A-FCBF-98DB-A3A2-36A13A7E9980}"/>
          </ac:spMkLst>
        </pc:spChg>
      </pc:sldChg>
      <pc:sldChg chg="addSp delSp modSp mod">
        <pc:chgData name="Lars Tennbakk Bockman" userId="5a235df0-e381-4c4c-99ce-24b4b21fb9d1" providerId="ADAL" clId="{4207EA29-33B7-4AC0-ABBF-C28C427A7A0B}" dt="2025-04-04T08:38:17.891" v="5292" actId="14100"/>
        <pc:sldMkLst>
          <pc:docMk/>
          <pc:sldMk cId="362544367" sldId="264"/>
        </pc:sldMkLst>
        <pc:spChg chg="mod">
          <ac:chgData name="Lars Tennbakk Bockman" userId="5a235df0-e381-4c4c-99ce-24b4b21fb9d1" providerId="ADAL" clId="{4207EA29-33B7-4AC0-ABBF-C28C427A7A0B}" dt="2025-04-04T08:38:17.891" v="5292" actId="14100"/>
          <ac:spMkLst>
            <pc:docMk/>
            <pc:sldMk cId="362544367" sldId="264"/>
            <ac:spMk id="27" creationId="{1D503F1E-631A-06BB-9FA6-AB5D4E68E9D8}"/>
          </ac:spMkLst>
        </pc:spChg>
      </pc:sldChg>
      <pc:sldChg chg="addSp delSp modSp mod">
        <pc:chgData name="Lars Tennbakk Bockman" userId="5a235df0-e381-4c4c-99ce-24b4b21fb9d1" providerId="ADAL" clId="{4207EA29-33B7-4AC0-ABBF-C28C427A7A0B}" dt="2025-04-03T13:23:36.868" v="5291" actId="1076"/>
        <pc:sldMkLst>
          <pc:docMk/>
          <pc:sldMk cId="3809428704" sldId="268"/>
        </pc:sldMkLst>
        <pc:spChg chg="mod">
          <ac:chgData name="Lars Tennbakk Bockman" userId="5a235df0-e381-4c4c-99ce-24b4b21fb9d1" providerId="ADAL" clId="{4207EA29-33B7-4AC0-ABBF-C28C427A7A0B}" dt="2025-04-03T12:59:14.968" v="5268" actId="20577"/>
          <ac:spMkLst>
            <pc:docMk/>
            <pc:sldMk cId="3809428704" sldId="268"/>
            <ac:spMk id="2" creationId="{E225F7EA-99E6-543D-3D1D-6EACC2C8D6E1}"/>
          </ac:spMkLst>
        </pc:spChg>
        <pc:spChg chg="mod">
          <ac:chgData name="Lars Tennbakk Bockman" userId="5a235df0-e381-4c4c-99ce-24b4b21fb9d1" providerId="ADAL" clId="{4207EA29-33B7-4AC0-ABBF-C28C427A7A0B}" dt="2025-04-03T08:50:33.476" v="3509" actId="20577"/>
          <ac:spMkLst>
            <pc:docMk/>
            <pc:sldMk cId="3809428704" sldId="268"/>
            <ac:spMk id="3" creationId="{8A3EFEB1-D7F7-A46E-7DED-AE462CEAB1A0}"/>
          </ac:spMkLst>
        </pc:spChg>
        <pc:spChg chg="mod">
          <ac:chgData name="Lars Tennbakk Bockman" userId="5a235df0-e381-4c4c-99ce-24b4b21fb9d1" providerId="ADAL" clId="{4207EA29-33B7-4AC0-ABBF-C28C427A7A0B}" dt="2025-04-03T08:16:23.409" v="1957" actId="20577"/>
          <ac:spMkLst>
            <pc:docMk/>
            <pc:sldMk cId="3809428704" sldId="268"/>
            <ac:spMk id="27" creationId="{D4479EF9-3012-3964-A9D0-6C16A3C05105}"/>
          </ac:spMkLst>
        </pc:spChg>
      </pc:sldChg>
      <pc:sldChg chg="modSp mod">
        <pc:chgData name="Lars Tennbakk Bockman" userId="5a235df0-e381-4c4c-99ce-24b4b21fb9d1" providerId="ADAL" clId="{4207EA29-33B7-4AC0-ABBF-C28C427A7A0B}" dt="2025-04-03T08:56:39.519" v="4255" actId="20577"/>
        <pc:sldMkLst>
          <pc:docMk/>
          <pc:sldMk cId="964345901" sldId="269"/>
        </pc:sldMkLst>
        <pc:spChg chg="mod">
          <ac:chgData name="Lars Tennbakk Bockman" userId="5a235df0-e381-4c4c-99ce-24b4b21fb9d1" providerId="ADAL" clId="{4207EA29-33B7-4AC0-ABBF-C28C427A7A0B}" dt="2025-04-03T07:54:34.876" v="1264" actId="20577"/>
          <ac:spMkLst>
            <pc:docMk/>
            <pc:sldMk cId="964345901" sldId="269"/>
            <ac:spMk id="6" creationId="{98A31114-AE4A-2C3A-5034-C60474D62470}"/>
          </ac:spMkLst>
        </pc:spChg>
        <pc:spChg chg="mod">
          <ac:chgData name="Lars Tennbakk Bockman" userId="5a235df0-e381-4c4c-99ce-24b4b21fb9d1" providerId="ADAL" clId="{4207EA29-33B7-4AC0-ABBF-C28C427A7A0B}" dt="2025-04-02T07:33:35.046" v="22" actId="20577"/>
          <ac:spMkLst>
            <pc:docMk/>
            <pc:sldMk cId="964345901" sldId="269"/>
            <ac:spMk id="11" creationId="{C9D230B1-551A-0E7A-96AB-ADE59A906758}"/>
          </ac:spMkLst>
        </pc:spChg>
        <pc:spChg chg="mod">
          <ac:chgData name="Lars Tennbakk Bockman" userId="5a235df0-e381-4c4c-99ce-24b4b21fb9d1" providerId="ADAL" clId="{4207EA29-33B7-4AC0-ABBF-C28C427A7A0B}" dt="2025-04-03T08:56:39.519" v="4255" actId="20577"/>
          <ac:spMkLst>
            <pc:docMk/>
            <pc:sldMk cId="964345901" sldId="269"/>
            <ac:spMk id="15" creationId="{04DCDA78-71F1-811A-A7B3-AF6C80100E58}"/>
          </ac:spMkLst>
        </pc:spChg>
        <pc:picChg chg="mod">
          <ac:chgData name="Lars Tennbakk Bockman" userId="5a235df0-e381-4c4c-99ce-24b4b21fb9d1" providerId="ADAL" clId="{4207EA29-33B7-4AC0-ABBF-C28C427A7A0B}" dt="2025-04-02T07:33:24.447" v="10" actId="14100"/>
          <ac:picMkLst>
            <pc:docMk/>
            <pc:sldMk cId="964345901" sldId="269"/>
            <ac:picMk id="4" creationId="{F1209CBB-C9AB-BA6E-3FAE-5B8063D6E61B}"/>
          </ac:picMkLst>
        </pc:picChg>
        <pc:picChg chg="mod">
          <ac:chgData name="Lars Tennbakk Bockman" userId="5a235df0-e381-4c4c-99ce-24b4b21fb9d1" providerId="ADAL" clId="{4207EA29-33B7-4AC0-ABBF-C28C427A7A0B}" dt="2025-04-03T07:54:18.284" v="1248" actId="14826"/>
          <ac:picMkLst>
            <pc:docMk/>
            <pc:sldMk cId="964345901" sldId="269"/>
            <ac:picMk id="9" creationId="{D21B8C53-AA53-A852-4492-9BA4D601B04E}"/>
          </ac:picMkLst>
        </pc:picChg>
        <pc:picChg chg="mod">
          <ac:chgData name="Lars Tennbakk Bockman" userId="5a235df0-e381-4c4c-99ce-24b4b21fb9d1" providerId="ADAL" clId="{4207EA29-33B7-4AC0-ABBF-C28C427A7A0B}" dt="2025-04-02T07:33:10.934" v="7" actId="1076"/>
          <ac:picMkLst>
            <pc:docMk/>
            <pc:sldMk cId="964345901" sldId="269"/>
            <ac:picMk id="10" creationId="{D388F67E-CBD0-6D61-3BE3-4DCD8FC2400A}"/>
          </ac:picMkLst>
        </pc:picChg>
      </pc:sldChg>
      <pc:sldChg chg="modSp mod">
        <pc:chgData name="Lars Tennbakk Bockman" userId="5a235df0-e381-4c4c-99ce-24b4b21fb9d1" providerId="ADAL" clId="{4207EA29-33B7-4AC0-ABBF-C28C427A7A0B}" dt="2025-04-03T08:54:57.660" v="3899" actId="20577"/>
        <pc:sldMkLst>
          <pc:docMk/>
          <pc:sldMk cId="4275014000" sldId="270"/>
        </pc:sldMkLst>
        <pc:spChg chg="mod">
          <ac:chgData name="Lars Tennbakk Bockman" userId="5a235df0-e381-4c4c-99ce-24b4b21fb9d1" providerId="ADAL" clId="{4207EA29-33B7-4AC0-ABBF-C28C427A7A0B}" dt="2025-04-03T07:54:43.361" v="1275" actId="20577"/>
          <ac:spMkLst>
            <pc:docMk/>
            <pc:sldMk cId="4275014000" sldId="270"/>
            <ac:spMk id="8" creationId="{9F768446-0AB2-B3E1-3333-88CAAE767719}"/>
          </ac:spMkLst>
        </pc:spChg>
        <pc:spChg chg="mod">
          <ac:chgData name="Lars Tennbakk Bockman" userId="5a235df0-e381-4c4c-99ce-24b4b21fb9d1" providerId="ADAL" clId="{4207EA29-33B7-4AC0-ABBF-C28C427A7A0B}" dt="2025-04-02T07:33:38.415" v="26" actId="20577"/>
          <ac:spMkLst>
            <pc:docMk/>
            <pc:sldMk cId="4275014000" sldId="270"/>
            <ac:spMk id="11" creationId="{C9D230B1-551A-0E7A-96AB-ADE59A906758}"/>
          </ac:spMkLst>
        </pc:spChg>
        <pc:spChg chg="mod">
          <ac:chgData name="Lars Tennbakk Bockman" userId="5a235df0-e381-4c4c-99ce-24b4b21fb9d1" providerId="ADAL" clId="{4207EA29-33B7-4AC0-ABBF-C28C427A7A0B}" dt="2025-04-03T08:54:57.660" v="3899" actId="20577"/>
          <ac:spMkLst>
            <pc:docMk/>
            <pc:sldMk cId="4275014000" sldId="270"/>
            <ac:spMk id="14" creationId="{21531C8D-908F-3C5D-76AA-208A0DF8D559}"/>
          </ac:spMkLst>
        </pc:spChg>
        <pc:picChg chg="mod">
          <ac:chgData name="Lars Tennbakk Bockman" userId="5a235df0-e381-4c4c-99ce-24b4b21fb9d1" providerId="ADAL" clId="{4207EA29-33B7-4AC0-ABBF-C28C427A7A0B}" dt="2025-04-02T07:33:46.544" v="27" actId="14826"/>
          <ac:picMkLst>
            <pc:docMk/>
            <pc:sldMk cId="4275014000" sldId="270"/>
            <ac:picMk id="4" creationId="{333A123B-CC7B-438C-45B1-FD90C4A986EA}"/>
          </ac:picMkLst>
        </pc:picChg>
        <pc:picChg chg="mod">
          <ac:chgData name="Lars Tennbakk Bockman" userId="5a235df0-e381-4c4c-99ce-24b4b21fb9d1" providerId="ADAL" clId="{4207EA29-33B7-4AC0-ABBF-C28C427A7A0B}" dt="2025-04-03T07:54:56" v="1276" actId="14826"/>
          <ac:picMkLst>
            <pc:docMk/>
            <pc:sldMk cId="4275014000" sldId="270"/>
            <ac:picMk id="5" creationId="{1FC70556-B41D-FA15-EDBD-21B7105AEC8B}"/>
          </ac:picMkLst>
        </pc:picChg>
        <pc:picChg chg="mod">
          <ac:chgData name="Lars Tennbakk Bockman" userId="5a235df0-e381-4c4c-99ce-24b4b21fb9d1" providerId="ADAL" clId="{4207EA29-33B7-4AC0-ABBF-C28C427A7A0B}" dt="2025-04-02T07:33:51.425" v="28" actId="14826"/>
          <ac:picMkLst>
            <pc:docMk/>
            <pc:sldMk cId="4275014000" sldId="270"/>
            <ac:picMk id="6" creationId="{E247D54D-3951-79FF-87AE-26509570666F}"/>
          </ac:picMkLst>
        </pc:picChg>
      </pc:sldChg>
      <pc:sldChg chg="addSp delSp modSp mod">
        <pc:chgData name="Lars Tennbakk Bockman" userId="5a235df0-e381-4c4c-99ce-24b4b21fb9d1" providerId="ADAL" clId="{4207EA29-33B7-4AC0-ABBF-C28C427A7A0B}" dt="2025-04-03T12:40:02.723" v="4334" actId="20577"/>
        <pc:sldMkLst>
          <pc:docMk/>
          <pc:sldMk cId="4169780862" sldId="274"/>
        </pc:sldMkLst>
      </pc:sldChg>
      <pc:sldChg chg="modSp mod">
        <pc:chgData name="Lars Tennbakk Bockman" userId="5a235df0-e381-4c4c-99ce-24b4b21fb9d1" providerId="ADAL" clId="{4207EA29-33B7-4AC0-ABBF-C28C427A7A0B}" dt="2025-04-03T08:54:00.046" v="3739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4207EA29-33B7-4AC0-ABBF-C28C427A7A0B}" dt="2025-04-03T08:54:00.046" v="3739" actId="20577"/>
          <ac:spMkLst>
            <pc:docMk/>
            <pc:sldMk cId="1400664593" sldId="275"/>
            <ac:spMk id="13" creationId="{D3816D81-2F0C-5C31-0215-8B391B6646ED}"/>
          </ac:spMkLst>
        </pc:spChg>
        <pc:picChg chg="mod">
          <ac:chgData name="Lars Tennbakk Bockman" userId="5a235df0-e381-4c4c-99ce-24b4b21fb9d1" providerId="ADAL" clId="{4207EA29-33B7-4AC0-ABBF-C28C427A7A0B}" dt="2025-04-02T07:34:16.251" v="29" actId="14826"/>
          <ac:picMkLst>
            <pc:docMk/>
            <pc:sldMk cId="1400664593" sldId="275"/>
            <ac:picMk id="10" creationId="{EDD2A1DB-03B4-A540-E2CF-68A1C96AF138}"/>
          </ac:picMkLst>
        </pc:picChg>
        <pc:picChg chg="mod">
          <ac:chgData name="Lars Tennbakk Bockman" userId="5a235df0-e381-4c4c-99ce-24b4b21fb9d1" providerId="ADAL" clId="{4207EA29-33B7-4AC0-ABBF-C28C427A7A0B}" dt="2025-04-03T08:16:35.048" v="1958" actId="14826"/>
          <ac:picMkLst>
            <pc:docMk/>
            <pc:sldMk cId="1400664593" sldId="275"/>
            <ac:picMk id="12" creationId="{475A88D7-D294-62B2-8755-82110AB84DD1}"/>
          </ac:picMkLst>
        </pc:picChg>
        <pc:picChg chg="mod">
          <ac:chgData name="Lars Tennbakk Bockman" userId="5a235df0-e381-4c4c-99ce-24b4b21fb9d1" providerId="ADAL" clId="{4207EA29-33B7-4AC0-ABBF-C28C427A7A0B}" dt="2025-04-03T08:16:41.412" v="1959" actId="1076"/>
          <ac:picMkLst>
            <pc:docMk/>
            <pc:sldMk cId="1400664593" sldId="275"/>
            <ac:picMk id="1026" creationId="{A3000F04-E780-98BA-A9F5-FBB1AD330F20}"/>
          </ac:picMkLst>
        </pc:picChg>
        <pc:picChg chg="mod">
          <ac:chgData name="Lars Tennbakk Bockman" userId="5a235df0-e381-4c4c-99ce-24b4b21fb9d1" providerId="ADAL" clId="{4207EA29-33B7-4AC0-ABBF-C28C427A7A0B}" dt="2025-04-03T08:16:49.472" v="1962" actId="1076"/>
          <ac:picMkLst>
            <pc:docMk/>
            <pc:sldMk cId="1400664593" sldId="275"/>
            <ac:picMk id="1028" creationId="{7BD95610-1C21-5E69-CD9D-A797BAA38B11}"/>
          </ac:picMkLst>
        </pc:picChg>
        <pc:picChg chg="mod">
          <ac:chgData name="Lars Tennbakk Bockman" userId="5a235df0-e381-4c4c-99ce-24b4b21fb9d1" providerId="ADAL" clId="{4207EA29-33B7-4AC0-ABBF-C28C427A7A0B}" dt="2025-04-03T08:16:46.335" v="1961" actId="1076"/>
          <ac:picMkLst>
            <pc:docMk/>
            <pc:sldMk cId="1400664593" sldId="275"/>
            <ac:picMk id="1030" creationId="{ACF3AF7C-A2DE-81CC-E858-516CB40827CE}"/>
          </ac:picMkLst>
        </pc:picChg>
        <pc:picChg chg="mod">
          <ac:chgData name="Lars Tennbakk Bockman" userId="5a235df0-e381-4c4c-99ce-24b4b21fb9d1" providerId="ADAL" clId="{4207EA29-33B7-4AC0-ABBF-C28C427A7A0B}" dt="2025-04-03T08:16:44.455" v="1960" actId="1076"/>
          <ac:picMkLst>
            <pc:docMk/>
            <pc:sldMk cId="1400664593" sldId="275"/>
            <ac:picMk id="1032" creationId="{8EF0B950-C72C-D5A3-948A-06A2609A5B96}"/>
          </ac:picMkLst>
        </pc:picChg>
        <pc:picChg chg="mod">
          <ac:chgData name="Lars Tennbakk Bockman" userId="5a235df0-e381-4c4c-99ce-24b4b21fb9d1" providerId="ADAL" clId="{4207EA29-33B7-4AC0-ABBF-C28C427A7A0B}" dt="2025-04-03T08:16:51.471" v="1963" actId="1076"/>
          <ac:picMkLst>
            <pc:docMk/>
            <pc:sldMk cId="1400664593" sldId="275"/>
            <ac:picMk id="1034" creationId="{93E8EE5C-F00F-9D19-55F8-6D26C9255442}"/>
          </ac:picMkLst>
        </pc:picChg>
      </pc:sldChg>
      <pc:sldChg chg="modSp">
        <pc:chgData name="Lars Tennbakk Bockman" userId="5a235df0-e381-4c4c-99ce-24b4b21fb9d1" providerId="ADAL" clId="{4207EA29-33B7-4AC0-ABBF-C28C427A7A0B}" dt="2025-04-03T12:41:36.534" v="4335" actId="14826"/>
        <pc:sldMkLst>
          <pc:docMk/>
          <pc:sldMk cId="3048309862" sldId="277"/>
        </pc:sldMkLst>
        <pc:picChg chg="mod">
          <ac:chgData name="Lars Tennbakk Bockman" userId="5a235df0-e381-4c4c-99ce-24b4b21fb9d1" providerId="ADAL" clId="{4207EA29-33B7-4AC0-ABBF-C28C427A7A0B}" dt="2025-04-03T12:41:36.534" v="4335" actId="14826"/>
          <ac:picMkLst>
            <pc:docMk/>
            <pc:sldMk cId="3048309862" sldId="277"/>
            <ac:picMk id="15" creationId="{E74EA589-72EA-AA47-0E44-BCAE8A4D908E}"/>
          </ac:picMkLst>
        </pc:picChg>
      </pc:sldChg>
    </pc:docChg>
  </pc:docChgLst>
  <pc:docChgLst>
    <pc:chgData name="Lars Tennbakk Bockman" userId="5a235df0-e381-4c4c-99ce-24b4b21fb9d1" providerId="ADAL" clId="{FC896D71-30DB-4AEA-A103-A1535D2C5492}"/>
    <pc:docChg chg="undo custSel addSld delSld modSld sldOrd">
      <pc:chgData name="Lars Tennbakk Bockman" userId="5a235df0-e381-4c4c-99ce-24b4b21fb9d1" providerId="ADAL" clId="{FC896D71-30DB-4AEA-A103-A1535D2C5492}" dt="2025-01-08T12:25:22.054" v="6450" actId="20577"/>
      <pc:docMkLst>
        <pc:docMk/>
      </pc:docMkLst>
      <pc:sldChg chg="addSp delSp modSp mod">
        <pc:chgData name="Lars Tennbakk Bockman" userId="5a235df0-e381-4c4c-99ce-24b4b21fb9d1" providerId="ADAL" clId="{FC896D71-30DB-4AEA-A103-A1535D2C5492}" dt="2025-01-06T11:24:57.707" v="6116" actId="113"/>
        <pc:sldMkLst>
          <pc:docMk/>
          <pc:sldMk cId="362544367" sldId="264"/>
        </pc:sldMkLst>
      </pc:sldChg>
      <pc:sldChg chg="modSp mod modCm">
        <pc:chgData name="Lars Tennbakk Bockman" userId="5a235df0-e381-4c4c-99ce-24b4b21fb9d1" providerId="ADAL" clId="{FC896D71-30DB-4AEA-A103-A1535D2C5492}" dt="2025-01-06T09:28:57.340" v="6030" actId="20577"/>
        <pc:sldMkLst>
          <pc:docMk/>
          <pc:sldMk cId="3809428704" sldId="26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ars Tennbakk Bockman" userId="5a235df0-e381-4c4c-99ce-24b4b21fb9d1" providerId="ADAL" clId="{FC896D71-30DB-4AEA-A103-A1535D2C5492}" dt="2025-01-06T09:28:43.645" v="6002" actId="20577"/>
              <pc2:cmMkLst xmlns:pc2="http://schemas.microsoft.com/office/powerpoint/2019/9/main/command">
                <pc:docMk/>
                <pc:sldMk cId="3809428704" sldId="268"/>
                <pc2:cmMk id="{BD285216-2692-4772-BDA0-82CB6E972524}"/>
              </pc2:cmMkLst>
            </pc226:cmChg>
          </p:ext>
        </pc:extLst>
      </pc:sldChg>
      <pc:sldChg chg="modSp mod">
        <pc:chgData name="Lars Tennbakk Bockman" userId="5a235df0-e381-4c4c-99ce-24b4b21fb9d1" providerId="ADAL" clId="{FC896D71-30DB-4AEA-A103-A1535D2C5492}" dt="2025-01-06T14:39:11.436" v="6372" actId="14826"/>
        <pc:sldMkLst>
          <pc:docMk/>
          <pc:sldMk cId="964345901" sldId="269"/>
        </pc:sldMkLst>
      </pc:sldChg>
      <pc:sldChg chg="modSp mod">
        <pc:chgData name="Lars Tennbakk Bockman" userId="5a235df0-e381-4c4c-99ce-24b4b21fb9d1" providerId="ADAL" clId="{FC896D71-30DB-4AEA-A103-A1535D2C5492}" dt="2025-01-08T12:09:10.116" v="6382" actId="20577"/>
        <pc:sldMkLst>
          <pc:docMk/>
          <pc:sldMk cId="4275014000" sldId="270"/>
        </pc:sldMkLst>
      </pc:sldChg>
      <pc:sldChg chg="addSp delSp modSp mod">
        <pc:chgData name="Lars Tennbakk Bockman" userId="5a235df0-e381-4c4c-99ce-24b4b21fb9d1" providerId="ADAL" clId="{FC896D71-30DB-4AEA-A103-A1535D2C5492}" dt="2025-01-06T14:37:35.158" v="6371" actId="20577"/>
        <pc:sldMkLst>
          <pc:docMk/>
          <pc:sldMk cId="4169780862" sldId="274"/>
        </pc:sldMkLst>
      </pc:sldChg>
      <pc:sldChg chg="modSp mod">
        <pc:chgData name="Lars Tennbakk Bockman" userId="5a235df0-e381-4c4c-99ce-24b4b21fb9d1" providerId="ADAL" clId="{FC896D71-30DB-4AEA-A103-A1535D2C5492}" dt="2025-01-08T12:25:22.054" v="6450" actId="20577"/>
        <pc:sldMkLst>
          <pc:docMk/>
          <pc:sldMk cId="1400664593" sldId="275"/>
        </pc:sldMkLst>
      </pc:sldChg>
      <pc:sldChg chg="modSp">
        <pc:chgData name="Lars Tennbakk Bockman" userId="5a235df0-e381-4c4c-99ce-24b4b21fb9d1" providerId="ADAL" clId="{FC896D71-30DB-4AEA-A103-A1535D2C5492}" dt="2025-01-06T13:58:08.914" v="6362" actId="14826"/>
        <pc:sldMkLst>
          <pc:docMk/>
          <pc:sldMk cId="3048309862" sldId="277"/>
        </pc:sldMkLst>
      </pc:sldChg>
      <pc:sldChg chg="modSp add mod">
        <pc:chgData name="Lars Tennbakk Bockman" userId="5a235df0-e381-4c4c-99ce-24b4b21fb9d1" providerId="ADAL" clId="{FC896D71-30DB-4AEA-A103-A1535D2C5492}" dt="2025-01-08T12:11:18.722" v="6384" actId="14826"/>
        <pc:sldMkLst>
          <pc:docMk/>
          <pc:sldMk cId="684640037" sldId="278"/>
        </pc:sldMkLst>
      </pc:sldChg>
      <pc:sldChg chg="add del ord">
        <pc:chgData name="Lars Tennbakk Bockman" userId="5a235df0-e381-4c4c-99ce-24b4b21fb9d1" providerId="ADAL" clId="{FC896D71-30DB-4AEA-A103-A1535D2C5492}" dt="2025-01-02T13:30:59.342" v="1962" actId="47"/>
        <pc:sldMkLst>
          <pc:docMk/>
          <pc:sldMk cId="1260068763" sldId="278"/>
        </pc:sldMkLst>
      </pc:sldChg>
      <pc:sldChg chg="modSp add del mod">
        <pc:chgData name="Lars Tennbakk Bockman" userId="5a235df0-e381-4c4c-99ce-24b4b21fb9d1" providerId="ADAL" clId="{FC896D71-30DB-4AEA-A103-A1535D2C5492}" dt="2025-01-02T12:36:51.672" v="466" actId="47"/>
        <pc:sldMkLst>
          <pc:docMk/>
          <pc:sldMk cId="1348916666" sldId="278"/>
        </pc:sldMkLst>
      </pc:sldChg>
      <pc:sldChg chg="add del setBg">
        <pc:chgData name="Lars Tennbakk Bockman" userId="5a235df0-e381-4c4c-99ce-24b4b21fb9d1" providerId="ADAL" clId="{FC896D71-30DB-4AEA-A103-A1535D2C5492}" dt="2025-01-02T12:32:34.207" v="421"/>
        <pc:sldMkLst>
          <pc:docMk/>
          <pc:sldMk cId="2395984153" sldId="278"/>
        </pc:sldMkLst>
      </pc:sldChg>
      <pc:sldChg chg="add del setBg">
        <pc:chgData name="Lars Tennbakk Bockman" userId="5a235df0-e381-4c4c-99ce-24b4b21fb9d1" providerId="ADAL" clId="{FC896D71-30DB-4AEA-A103-A1535D2C5492}" dt="2025-01-02T13:31:05.902" v="1964"/>
        <pc:sldMkLst>
          <pc:docMk/>
          <pc:sldMk cId="3867242088" sldId="278"/>
        </pc:sldMkLst>
      </pc:sldChg>
      <pc:sldChg chg="addSp delSp modSp add mod">
        <pc:chgData name="Lars Tennbakk Bockman" userId="5a235df0-e381-4c4c-99ce-24b4b21fb9d1" providerId="ADAL" clId="{FC896D71-30DB-4AEA-A103-A1535D2C5492}" dt="2025-01-08T12:12:13.681" v="6426" actId="20577"/>
        <pc:sldMkLst>
          <pc:docMk/>
          <pc:sldMk cId="575956772" sldId="279"/>
        </pc:sldMkLst>
      </pc:sldChg>
      <pc:sldChg chg="add del setBg">
        <pc:chgData name="Lars Tennbakk Bockman" userId="5a235df0-e381-4c4c-99ce-24b4b21fb9d1" providerId="ADAL" clId="{FC896D71-30DB-4AEA-A103-A1535D2C5492}" dt="2025-01-02T13:50:36.804" v="1994"/>
        <pc:sldMkLst>
          <pc:docMk/>
          <pc:sldMk cId="1860843783" sldId="279"/>
        </pc:sldMkLst>
      </pc:sldChg>
      <pc:sldChg chg="addSp delSp modSp add mod">
        <pc:chgData name="Lars Tennbakk Bockman" userId="5a235df0-e381-4c4c-99ce-24b4b21fb9d1" providerId="ADAL" clId="{FC896D71-30DB-4AEA-A103-A1535D2C5492}" dt="2025-01-06T13:47:48.557" v="6361" actId="113"/>
        <pc:sldMkLst>
          <pc:docMk/>
          <pc:sldMk cId="2882603907" sldId="280"/>
        </pc:sldMkLst>
      </pc:sldChg>
      <pc:sldChg chg="addSp delSp modSp add mod ord">
        <pc:chgData name="Lars Tennbakk Bockman" userId="5a235df0-e381-4c4c-99ce-24b4b21fb9d1" providerId="ADAL" clId="{FC896D71-30DB-4AEA-A103-A1535D2C5492}" dt="2025-01-06T13:37:25.846" v="6189" actId="20577"/>
        <pc:sldMkLst>
          <pc:docMk/>
          <pc:sldMk cId="904067555" sldId="281"/>
        </pc:sldMkLst>
      </pc:sldChg>
    </pc:docChg>
  </pc:docChgLst>
  <pc:docChgLst>
    <pc:chgData name="Lars Tennbakk Bockman" userId="5a235df0-e381-4c4c-99ce-24b4b21fb9d1" providerId="ADAL" clId="{2DD08CE4-CA9B-4C62-8211-1FE07A121053}"/>
    <pc:docChg chg="undo custSel modSld">
      <pc:chgData name="Lars Tennbakk Bockman" userId="5a235df0-e381-4c4c-99ce-24b4b21fb9d1" providerId="ADAL" clId="{2DD08CE4-CA9B-4C62-8211-1FE07A121053}" dt="2024-10-04T10:03:57.895" v="2678" actId="20577"/>
      <pc:docMkLst>
        <pc:docMk/>
      </pc:docMkLst>
      <pc:sldChg chg="modSp mod modCm">
        <pc:chgData name="Lars Tennbakk Bockman" userId="5a235df0-e381-4c4c-99ce-24b4b21fb9d1" providerId="ADAL" clId="{2DD08CE4-CA9B-4C62-8211-1FE07A121053}" dt="2024-10-04T10:03:57.895" v="2678" actId="20577"/>
        <pc:sldMkLst>
          <pc:docMk/>
          <pc:sldMk cId="4148148830" sldId="25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ars Tennbakk Bockman" userId="5a235df0-e381-4c4c-99ce-24b4b21fb9d1" providerId="ADAL" clId="{2DD08CE4-CA9B-4C62-8211-1FE07A121053}" dt="2024-10-04T10:03:57.895" v="2678" actId="20577"/>
              <pc2:cmMkLst xmlns:pc2="http://schemas.microsoft.com/office/powerpoint/2019/9/main/command">
                <pc:docMk/>
                <pc:sldMk cId="4148148830" sldId="259"/>
                <pc2:cmMk id="{83A35CC2-E05B-4685-AD7D-7EB6C0D18964}"/>
              </pc2:cmMkLst>
            </pc226:cmChg>
          </p:ext>
        </pc:extLst>
      </pc:sldChg>
      <pc:sldChg chg="modSp">
        <pc:chgData name="Lars Tennbakk Bockman" userId="5a235df0-e381-4c4c-99ce-24b4b21fb9d1" providerId="ADAL" clId="{2DD08CE4-CA9B-4C62-8211-1FE07A121053}" dt="2024-10-03T09:25:04.492" v="2486" actId="14826"/>
        <pc:sldMkLst>
          <pc:docMk/>
          <pc:sldMk cId="3048309862" sldId="277"/>
        </pc:sldMkLst>
      </pc:sldChg>
    </pc:docChg>
  </pc:docChgLst>
  <pc:docChgLst>
    <pc:chgData name="Ingeborg Aarø" userId="S::ingeborg.aaro@fornybarnorge.no::fe5f74f8-3120-49da-a10f-7c51be1254b1" providerId="AD" clId="Web-{49594A3B-2D5F-9DAF-A814-9A3960F084FD}"/>
    <pc:docChg chg="modSld">
      <pc:chgData name="Ingeborg Aarø" userId="S::ingeborg.aaro@fornybarnorge.no::fe5f74f8-3120-49da-a10f-7c51be1254b1" providerId="AD" clId="Web-{49594A3B-2D5F-9DAF-A814-9A3960F084FD}" dt="2024-06-05T11:09:23.309" v="15" actId="14100"/>
      <pc:docMkLst>
        <pc:docMk/>
      </pc:docMkLst>
    </pc:docChg>
  </pc:docChgLst>
  <pc:docChgLst>
    <pc:chgData name="Lars Tennbakk Bockman" userId="5a235df0-e381-4c4c-99ce-24b4b21fb9d1" providerId="ADAL" clId="{29571FDC-99EC-43E1-BF44-2567C8FCCD48}"/>
    <pc:docChg chg="custSel modSld">
      <pc:chgData name="Lars Tennbakk Bockman" userId="5a235df0-e381-4c4c-99ce-24b4b21fb9d1" providerId="ADAL" clId="{29571FDC-99EC-43E1-BF44-2567C8FCCD48}" dt="2024-09-05T10:27:08.662" v="7072" actId="20577"/>
      <pc:docMkLst>
        <pc:docMk/>
      </pc:docMkLst>
      <pc:sldChg chg="modSp mod">
        <pc:chgData name="Lars Tennbakk Bockman" userId="5a235df0-e381-4c4c-99ce-24b4b21fb9d1" providerId="ADAL" clId="{29571FDC-99EC-43E1-BF44-2567C8FCCD48}" dt="2024-09-05T09:26:34.090" v="6308" actId="20577"/>
        <pc:sldMkLst>
          <pc:docMk/>
          <pc:sldMk cId="4148148830" sldId="259"/>
        </pc:sldMkLst>
      </pc:sldChg>
      <pc:sldChg chg="addSp delSp modSp mod">
        <pc:chgData name="Lars Tennbakk Bockman" userId="5a235df0-e381-4c4c-99ce-24b4b21fb9d1" providerId="ADAL" clId="{29571FDC-99EC-43E1-BF44-2567C8FCCD48}" dt="2024-09-05T10:16:44.729" v="6328" actId="20577"/>
        <pc:sldMkLst>
          <pc:docMk/>
          <pc:sldMk cId="362544367" sldId="264"/>
        </pc:sldMkLst>
      </pc:sldChg>
      <pc:sldChg chg="addSp delSp modSp mod">
        <pc:chgData name="Lars Tennbakk Bockman" userId="5a235df0-e381-4c4c-99ce-24b4b21fb9d1" providerId="ADAL" clId="{29571FDC-99EC-43E1-BF44-2567C8FCCD48}" dt="2024-09-05T10:21:39.876" v="6484" actId="20577"/>
        <pc:sldMkLst>
          <pc:docMk/>
          <pc:sldMk cId="4169780862" sldId="274"/>
        </pc:sldMkLst>
      </pc:sldChg>
      <pc:sldChg chg="modSp">
        <pc:chgData name="Lars Tennbakk Bockman" userId="5a235df0-e381-4c4c-99ce-24b4b21fb9d1" providerId="ADAL" clId="{29571FDC-99EC-43E1-BF44-2567C8FCCD48}" dt="2024-09-05T10:06:12.379" v="6309" actId="14826"/>
        <pc:sldMkLst>
          <pc:docMk/>
          <pc:sldMk cId="3048309862" sldId="277"/>
        </pc:sldMkLst>
      </pc:sldChg>
    </pc:docChg>
  </pc:docChgLst>
  <pc:docChgLst>
    <pc:chgData name="Lars Tennbakk Bockman" userId="5a235df0-e381-4c4c-99ce-24b4b21fb9d1" providerId="ADAL" clId="{2DE39966-EB09-496B-AB1B-8F160E500CA2}"/>
    <pc:docChg chg="undo custSel modSld">
      <pc:chgData name="Lars Tennbakk Bockman" userId="5a235df0-e381-4c4c-99ce-24b4b21fb9d1" providerId="ADAL" clId="{2DE39966-EB09-496B-AB1B-8F160E500CA2}" dt="2024-11-06T10:15:03.185" v="1504" actId="20577"/>
      <pc:docMkLst>
        <pc:docMk/>
      </pc:docMkLst>
      <pc:sldChg chg="modSp">
        <pc:chgData name="Lars Tennbakk Bockman" userId="5a235df0-e381-4c4c-99ce-24b4b21fb9d1" providerId="ADAL" clId="{2DE39966-EB09-496B-AB1B-8F160E500CA2}" dt="2024-11-06T09:53:35.636" v="790" actId="14826"/>
        <pc:sldMkLst>
          <pc:docMk/>
          <pc:sldMk cId="3048309862" sldId="277"/>
        </pc:sldMkLst>
      </pc:sldChg>
    </pc:docChg>
  </pc:docChgLst>
  <pc:docChgLst>
    <pc:chgData name="Lars Tennbakk Bockman" userId="5a235df0-e381-4c4c-99ce-24b4b21fb9d1" providerId="ADAL" clId="{D8FC7D48-BB51-4BF8-9320-0C2DEEC22118}"/>
    <pc:docChg chg="modSld">
      <pc:chgData name="Lars Tennbakk Bockman" userId="5a235df0-e381-4c4c-99ce-24b4b21fb9d1" providerId="ADAL" clId="{D8FC7D48-BB51-4BF8-9320-0C2DEEC22118}" dt="2024-04-26T12:44:00.145" v="2317" actId="20577"/>
      <pc:docMkLst>
        <pc:docMk/>
      </pc:docMkLst>
    </pc:docChg>
  </pc:docChgLst>
  <pc:docChgLst>
    <pc:chgData name="Iselin Ekeli Rønningsbakk" userId="187300ae-9cb6-416d-8a94-664ca977a24d" providerId="ADAL" clId="{9B70D854-A452-4942-8D56-AD61F5B81B85}"/>
    <pc:docChg chg="modSld">
      <pc:chgData name="Iselin Ekeli Rønningsbakk" userId="187300ae-9cb6-416d-8a94-664ca977a24d" providerId="ADAL" clId="{9B70D854-A452-4942-8D56-AD61F5B81B85}" dt="2024-04-11T12:51:18.637" v="644" actId="6549"/>
      <pc:docMkLst>
        <pc:docMk/>
      </pc:docMkLst>
    </pc:docChg>
  </pc:docChgLst>
  <pc:docChgLst>
    <pc:chgData name="Iselin Ekeli Rønningsbakk" userId="187300ae-9cb6-416d-8a94-664ca977a24d" providerId="ADAL" clId="{F135FA9E-2E87-4771-A6E7-FFFD185073E8}"/>
    <pc:docChg chg="modSld">
      <pc:chgData name="Iselin Ekeli Rønningsbakk" userId="187300ae-9cb6-416d-8a94-664ca977a24d" providerId="ADAL" clId="{F135FA9E-2E87-4771-A6E7-FFFD185073E8}" dt="2024-07-04T10:42:29.485" v="9" actId="6549"/>
      <pc:docMkLst>
        <pc:docMk/>
      </pc:docMkLst>
    </pc:docChg>
  </pc:docChgLst>
  <pc:docChgLst>
    <pc:chgData name="Lars Tennbakk Bockman" userId="S::lars.bockman@fornybarnorge.no::5a235df0-e381-4c4c-99ce-24b4b21fb9d1" providerId="AD" clId="Web-{5DD8785E-882F-ECCF-52C8-221874D7BB54}"/>
    <pc:docChg chg="modSld">
      <pc:chgData name="Lars Tennbakk Bockman" userId="S::lars.bockman@fornybarnorge.no::5a235df0-e381-4c4c-99ce-24b4b21fb9d1" providerId="AD" clId="Web-{5DD8785E-882F-ECCF-52C8-221874D7BB54}" dt="2025-02-10T09:08:44.325" v="1" actId="20577"/>
      <pc:docMkLst>
        <pc:docMk/>
      </pc:docMkLst>
    </pc:docChg>
  </pc:docChgLst>
  <pc:docChgLst>
    <pc:chgData name="Iselin Ekeli Rønningsbakk" userId="187300ae-9cb6-416d-8a94-664ca977a24d" providerId="ADAL" clId="{9D20F3F0-BFFC-4B67-9A36-9CDA6B23B3A5}"/>
    <pc:docChg chg="modSld">
      <pc:chgData name="Iselin Ekeli Rønningsbakk" userId="187300ae-9cb6-416d-8a94-664ca977a24d" providerId="ADAL" clId="{9D20F3F0-BFFC-4B67-9A36-9CDA6B23B3A5}" dt="2024-08-02T11:52:00.427" v="18" actId="6549"/>
      <pc:docMkLst>
        <pc:docMk/>
      </pc:docMkLst>
    </pc:docChg>
  </pc:docChgLst>
  <pc:docChgLst>
    <pc:chgData name="Iselin Ekeli Rønningsbakk" userId="187300ae-9cb6-416d-8a94-664ca977a24d" providerId="ADAL" clId="{AC2F6FF7-F6D8-4AFE-B906-DC35355E9A54}"/>
    <pc:docChg chg="modSld">
      <pc:chgData name="Iselin Ekeli Rønningsbakk" userId="187300ae-9cb6-416d-8a94-664ca977a24d" providerId="ADAL" clId="{AC2F6FF7-F6D8-4AFE-B906-DC35355E9A54}" dt="2024-08-05T12:49:30.545" v="1" actId="122"/>
      <pc:docMkLst>
        <pc:docMk/>
      </pc:docMkLst>
      <pc:sldChg chg="modSp mod">
        <pc:chgData name="Iselin Ekeli Rønningsbakk" userId="187300ae-9cb6-416d-8a94-664ca977a24d" providerId="ADAL" clId="{AC2F6FF7-F6D8-4AFE-B906-DC35355E9A54}" dt="2024-08-05T12:49:30.545" v="1" actId="122"/>
        <pc:sldMkLst>
          <pc:docMk/>
          <pc:sldMk cId="362544367" sldId="264"/>
        </pc:sldMkLst>
      </pc:sldChg>
      <pc:sldChg chg="delCm">
        <pc:chgData name="Iselin Ekeli Rønningsbakk" userId="187300ae-9cb6-416d-8a94-664ca977a24d" providerId="ADAL" clId="{AC2F6FF7-F6D8-4AFE-B906-DC35355E9A54}" dt="2024-08-05T12:42:02.450" v="0"/>
        <pc:sldMkLst>
          <pc:docMk/>
          <pc:sldMk cId="4169780862" sldId="274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Iselin Ekeli Rønningsbakk" userId="187300ae-9cb6-416d-8a94-664ca977a24d" providerId="ADAL" clId="{AC2F6FF7-F6D8-4AFE-B906-DC35355E9A54}" dt="2024-08-05T12:42:02.450" v="0"/>
              <pc2:cmMkLst xmlns:pc2="http://schemas.microsoft.com/office/powerpoint/2019/9/main/command">
                <pc:docMk/>
                <pc:sldMk cId="4169780862" sldId="274"/>
                <pc2:cmMk id="{2E9BC3A8-1C3E-41AF-825C-594DD1DF5CC5}"/>
              </pc2:cmMkLst>
            </pc226:cmChg>
          </p:ext>
        </pc:extLst>
      </pc:sldChg>
    </pc:docChg>
  </pc:docChgLst>
  <pc:docChgLst>
    <pc:chgData name="Iselin Ekeli Rønningsbakk" userId="187300ae-9cb6-416d-8a94-664ca977a24d" providerId="ADAL" clId="{D8EA8C15-6F1E-434E-BD2E-C43DE910E8AD}"/>
    <pc:docChg chg="undo custSel modSld">
      <pc:chgData name="Iselin Ekeli Rønningsbakk" userId="187300ae-9cb6-416d-8a94-664ca977a24d" providerId="ADAL" clId="{D8EA8C15-6F1E-434E-BD2E-C43DE910E8AD}" dt="2024-10-04T09:57:43.192" v="2671" actId="255"/>
      <pc:docMkLst>
        <pc:docMk/>
      </pc:docMkLst>
      <pc:sldChg chg="modSp mod modCm">
        <pc:chgData name="Iselin Ekeli Rønningsbakk" userId="187300ae-9cb6-416d-8a94-664ca977a24d" providerId="ADAL" clId="{D8EA8C15-6F1E-434E-BD2E-C43DE910E8AD}" dt="2024-10-04T07:55:31.222" v="665" actId="6549"/>
        <pc:sldMkLst>
          <pc:docMk/>
          <pc:sldMk cId="4148148830" sldId="25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Iselin Ekeli Rønningsbakk" userId="187300ae-9cb6-416d-8a94-664ca977a24d" providerId="ADAL" clId="{D8EA8C15-6F1E-434E-BD2E-C43DE910E8AD}" dt="2024-10-04T07:55:31.222" v="665" actId="6549"/>
              <pc2:cmMkLst xmlns:pc2="http://schemas.microsoft.com/office/powerpoint/2019/9/main/command">
                <pc:docMk/>
                <pc:sldMk cId="4148148830" sldId="259"/>
                <pc2:cmMk id="{83A35CC2-E05B-4685-AD7D-7EB6C0D18964}"/>
              </pc2:cmMkLst>
            </pc226:cmChg>
          </p:ext>
        </pc:extLst>
      </pc:sldChg>
    </pc:docChg>
  </pc:docChgLst>
  <pc:docChgLst>
    <pc:chgData name="Iselin Ekeli Rønningsbakk" userId="187300ae-9cb6-416d-8a94-664ca977a24d" providerId="ADAL" clId="{74867ED9-2A23-4D35-8970-EFBC7EB6A6E5}"/>
    <pc:docChg chg="modSld">
      <pc:chgData name="Iselin Ekeli Rønningsbakk" userId="187300ae-9cb6-416d-8a94-664ca977a24d" providerId="ADAL" clId="{74867ED9-2A23-4D35-8970-EFBC7EB6A6E5}" dt="2024-04-09T12:43:52.958" v="9" actId="20577"/>
      <pc:docMkLst>
        <pc:docMk/>
      </pc:docMkLst>
      <pc:sldChg chg="modSp mod">
        <pc:chgData name="Iselin Ekeli Rønningsbakk" userId="187300ae-9cb6-416d-8a94-664ca977a24d" providerId="ADAL" clId="{74867ED9-2A23-4D35-8970-EFBC7EB6A6E5}" dt="2024-04-09T12:43:52.958" v="9" actId="20577"/>
        <pc:sldMkLst>
          <pc:docMk/>
          <pc:sldMk cId="964345901" sldId="269"/>
        </pc:sldMkLst>
      </pc:sldChg>
      <pc:sldChg chg="modSp mod">
        <pc:chgData name="Iselin Ekeli Rønningsbakk" userId="187300ae-9cb6-416d-8a94-664ca977a24d" providerId="ADAL" clId="{74867ED9-2A23-4D35-8970-EFBC7EB6A6E5}" dt="2024-04-09T12:43:43.093" v="4" actId="20577"/>
        <pc:sldMkLst>
          <pc:docMk/>
          <pc:sldMk cId="4275014000" sldId="270"/>
        </pc:sldMkLst>
      </pc:sldChg>
    </pc:docChg>
  </pc:docChgLst>
  <pc:docChgLst>
    <pc:chgData name="Iselin Ekeli Rønningsbakk" userId="187300ae-9cb6-416d-8a94-664ca977a24d" providerId="ADAL" clId="{FB0547A2-14E6-4F44-95ED-0401051FE3B4}"/>
    <pc:docChg chg="modSld">
      <pc:chgData name="Iselin Ekeli Rønningsbakk" userId="187300ae-9cb6-416d-8a94-664ca977a24d" providerId="ADAL" clId="{FB0547A2-14E6-4F44-95ED-0401051FE3B4}" dt="2024-12-12T10:04:09.397" v="3" actId="255"/>
      <pc:docMkLst>
        <pc:docMk/>
      </pc:docMkLst>
    </pc:docChg>
  </pc:docChgLst>
  <pc:docChgLst>
    <pc:chgData name="Iselin Ekeli Rønningsbakk" userId="187300ae-9cb6-416d-8a94-664ca977a24d" providerId="ADAL" clId="{00BA57EB-2D70-4805-ADC1-5A9049218C5B}"/>
    <pc:docChg chg="undo custSel modSld">
      <pc:chgData name="Iselin Ekeli Rønningsbakk" userId="187300ae-9cb6-416d-8a94-664ca977a24d" providerId="ADAL" clId="{00BA57EB-2D70-4805-ADC1-5A9049218C5B}" dt="2024-09-12T13:27:21.131" v="67" actId="6549"/>
      <pc:docMkLst>
        <pc:docMk/>
      </pc:docMkLst>
      <pc:sldChg chg="modSp mod modCm">
        <pc:chgData name="Iselin Ekeli Rønningsbakk" userId="187300ae-9cb6-416d-8a94-664ca977a24d" providerId="ADAL" clId="{00BA57EB-2D70-4805-ADC1-5A9049218C5B}" dt="2024-09-12T13:27:21.131" v="67" actId="6549"/>
        <pc:sldMkLst>
          <pc:docMk/>
          <pc:sldMk cId="3809428704" sldId="26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Iselin Ekeli Rønningsbakk" userId="187300ae-9cb6-416d-8a94-664ca977a24d" providerId="ADAL" clId="{00BA57EB-2D70-4805-ADC1-5A9049218C5B}" dt="2024-09-12T13:26:48.860" v="26" actId="6549"/>
              <pc2:cmMkLst xmlns:pc2="http://schemas.microsoft.com/office/powerpoint/2019/9/main/command">
                <pc:docMk/>
                <pc:sldMk cId="3809428704" sldId="268"/>
                <pc2:cmMk id="{1B14C4AE-585E-44BD-92D7-68A814F4B6F7}"/>
              </pc2:cmMkLst>
            </pc226:cmChg>
            <pc226:cmChg xmlns:pc226="http://schemas.microsoft.com/office/powerpoint/2022/06/main/command" chg="mod">
              <pc226:chgData name="Iselin Ekeli Rønningsbakk" userId="187300ae-9cb6-416d-8a94-664ca977a24d" providerId="ADAL" clId="{00BA57EB-2D70-4805-ADC1-5A9049218C5B}" dt="2024-09-12T13:27:21.131" v="67" actId="6549"/>
              <pc2:cmMkLst xmlns:pc2="http://schemas.microsoft.com/office/powerpoint/2019/9/main/command">
                <pc:docMk/>
                <pc:sldMk cId="3809428704" sldId="268"/>
                <pc2:cmMk id="{F890DFE2-AA7F-4193-A6A0-323CEF6A01C0}"/>
              </pc2:cmMkLst>
            </pc226:cmChg>
          </p:ext>
        </pc:extLst>
      </pc:sldChg>
      <pc:sldChg chg="modSp mod">
        <pc:chgData name="Iselin Ekeli Rønningsbakk" userId="187300ae-9cb6-416d-8a94-664ca977a24d" providerId="ADAL" clId="{00BA57EB-2D70-4805-ADC1-5A9049218C5B}" dt="2024-09-12T11:52:15.308" v="1" actId="1076"/>
        <pc:sldMkLst>
          <pc:docMk/>
          <pc:sldMk cId="1400664593" sldId="275"/>
        </pc:sldMkLst>
      </pc:sldChg>
    </pc:docChg>
  </pc:docChgLst>
  <pc:docChgLst>
    <pc:chgData name="Lars Bockman" userId="5a235df0-e381-4c4c-99ce-24b4b21fb9d1" providerId="ADAL" clId="{EDABE23E-248D-4ED0-A77F-ADFCEC09D289}"/>
    <pc:docChg chg="undo redo custSel addSld delSld modSld sldOrd replTag">
      <pc:chgData name="Lars Bockman" userId="5a235df0-e381-4c4c-99ce-24b4b21fb9d1" providerId="ADAL" clId="{EDABE23E-248D-4ED0-A77F-ADFCEC09D289}" dt="2024-06-04T11:03:29.173" v="9429"/>
      <pc:docMkLst>
        <pc:docMk/>
      </pc:docMkLst>
      <pc:sldChg chg="modSp mod">
        <pc:chgData name="Lars Bockman" userId="5a235df0-e381-4c4c-99ce-24b4b21fb9d1" providerId="ADAL" clId="{EDABE23E-248D-4ED0-A77F-ADFCEC09D289}" dt="2024-06-04T11:03:29.173" v="9429"/>
        <pc:sldMkLst>
          <pc:docMk/>
          <pc:sldMk cId="4148148830" sldId="259"/>
        </pc:sldMkLst>
      </pc:sldChg>
      <pc:sldChg chg="addSp delSp modSp mod">
        <pc:chgData name="Lars Bockman" userId="5a235df0-e381-4c4c-99ce-24b4b21fb9d1" providerId="ADAL" clId="{EDABE23E-248D-4ED0-A77F-ADFCEC09D289}" dt="2024-06-03T08:20:31.189" v="6093" actId="27636"/>
        <pc:sldMkLst>
          <pc:docMk/>
          <pc:sldMk cId="3149972175" sldId="261"/>
        </pc:sldMkLst>
      </pc:sldChg>
      <pc:sldChg chg="addSp modSp mod">
        <pc:chgData name="Lars Bockman" userId="5a235df0-e381-4c4c-99ce-24b4b21fb9d1" providerId="ADAL" clId="{EDABE23E-248D-4ED0-A77F-ADFCEC09D289}" dt="2024-06-04T07:31:53.165" v="7604" actId="20577"/>
        <pc:sldMkLst>
          <pc:docMk/>
          <pc:sldMk cId="362544367" sldId="264"/>
        </pc:sldMkLst>
      </pc:sldChg>
      <pc:sldChg chg="addSp delSp modSp mod">
        <pc:chgData name="Lars Bockman" userId="5a235df0-e381-4c4c-99ce-24b4b21fb9d1" providerId="ADAL" clId="{EDABE23E-248D-4ED0-A77F-ADFCEC09D289}" dt="2024-06-03T08:52:24.354" v="7050" actId="20577"/>
        <pc:sldMkLst>
          <pc:docMk/>
          <pc:sldMk cId="3809428704" sldId="268"/>
        </pc:sldMkLst>
      </pc:sldChg>
      <pc:sldChg chg="addSp delSp modSp mod">
        <pc:chgData name="Lars Bockman" userId="5a235df0-e381-4c4c-99ce-24b4b21fb9d1" providerId="ADAL" clId="{EDABE23E-248D-4ED0-A77F-ADFCEC09D289}" dt="2024-06-04T08:07:25.200" v="8913" actId="20577"/>
        <pc:sldMkLst>
          <pc:docMk/>
          <pc:sldMk cId="964345901" sldId="269"/>
        </pc:sldMkLst>
      </pc:sldChg>
      <pc:sldChg chg="addSp delSp modSp mod">
        <pc:chgData name="Lars Bockman" userId="5a235df0-e381-4c4c-99ce-24b4b21fb9d1" providerId="ADAL" clId="{EDABE23E-248D-4ED0-A77F-ADFCEC09D289}" dt="2024-06-04T08:10:24.938" v="9202"/>
        <pc:sldMkLst>
          <pc:docMk/>
          <pc:sldMk cId="4275014000" sldId="270"/>
        </pc:sldMkLst>
      </pc:sldChg>
      <pc:sldChg chg="modSp mod">
        <pc:chgData name="Lars Bockman" userId="5a235df0-e381-4c4c-99ce-24b4b21fb9d1" providerId="ADAL" clId="{EDABE23E-248D-4ED0-A77F-ADFCEC09D289}" dt="2024-06-04T07:39:26.273" v="8046" actId="20577"/>
        <pc:sldMkLst>
          <pc:docMk/>
          <pc:sldMk cId="4169780862" sldId="274"/>
        </pc:sldMkLst>
      </pc:sldChg>
      <pc:sldChg chg="modSp mod">
        <pc:chgData name="Lars Bockman" userId="5a235df0-e381-4c4c-99ce-24b4b21fb9d1" providerId="ADAL" clId="{EDABE23E-248D-4ED0-A77F-ADFCEC09D289}" dt="2024-06-04T08:02:40.414" v="8190" actId="20577"/>
        <pc:sldMkLst>
          <pc:docMk/>
          <pc:sldMk cId="1400664593" sldId="275"/>
        </pc:sldMkLst>
      </pc:sldChg>
      <pc:sldChg chg="delSp modSp del mod">
        <pc:chgData name="Lars Bockman" userId="5a235df0-e381-4c4c-99ce-24b4b21fb9d1" providerId="ADAL" clId="{EDABE23E-248D-4ED0-A77F-ADFCEC09D289}" dt="2024-06-04T08:03:38.248" v="8213" actId="47"/>
        <pc:sldMkLst>
          <pc:docMk/>
          <pc:sldMk cId="4123918659" sldId="276"/>
        </pc:sldMkLst>
      </pc:sldChg>
      <pc:sldChg chg="addSp delSp modSp add mod ord">
        <pc:chgData name="Lars Bockman" userId="5a235df0-e381-4c4c-99ce-24b4b21fb9d1" providerId="ADAL" clId="{EDABE23E-248D-4ED0-A77F-ADFCEC09D289}" dt="2024-06-04T08:04:10.760" v="8414"/>
        <pc:sldMkLst>
          <pc:docMk/>
          <pc:sldMk cId="3048309862" sldId="277"/>
        </pc:sldMkLst>
      </pc:sldChg>
    </pc:docChg>
  </pc:docChgLst>
  <pc:docChgLst>
    <pc:chgData name="Iselin Ekeli Rønningsbakk" userId="187300ae-9cb6-416d-8a94-664ca977a24d" providerId="ADAL" clId="{B9C38528-3DDD-4A97-9899-C95AD467A32F}"/>
    <pc:docChg chg="modSld">
      <pc:chgData name="Iselin Ekeli Rønningsbakk" userId="187300ae-9cb6-416d-8a94-664ca977a24d" providerId="ADAL" clId="{B9C38528-3DDD-4A97-9899-C95AD467A32F}" dt="2025-01-10T12:53:07.462" v="97" actId="20577"/>
      <pc:docMkLst>
        <pc:docMk/>
      </pc:docMkLst>
      <pc:sldChg chg="modSp mod modCm">
        <pc:chgData name="Iselin Ekeli Rønningsbakk" userId="187300ae-9cb6-416d-8a94-664ca977a24d" providerId="ADAL" clId="{B9C38528-3DDD-4A97-9899-C95AD467A32F}" dt="2025-01-10T12:41:20.006" v="3" actId="255"/>
        <pc:sldMkLst>
          <pc:docMk/>
          <pc:sldMk cId="3149972175" sldId="26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Iselin Ekeli Rønningsbakk" userId="187300ae-9cb6-416d-8a94-664ca977a24d" providerId="ADAL" clId="{B9C38528-3DDD-4A97-9899-C95AD467A32F}" dt="2025-01-10T12:41:06.757" v="2" actId="20577"/>
              <pc2:cmMkLst xmlns:pc2="http://schemas.microsoft.com/office/powerpoint/2019/9/main/command">
                <pc:docMk/>
                <pc:sldMk cId="3149972175" sldId="261"/>
                <pc2:cmMk id="{27C071CA-5861-4B05-BCB8-45656CDD9806}"/>
              </pc2:cmMkLst>
            </pc226:cmChg>
          </p:ext>
        </pc:extLst>
      </pc:sldChg>
      <pc:sldChg chg="modSp mod">
        <pc:chgData name="Iselin Ekeli Rønningsbakk" userId="187300ae-9cb6-416d-8a94-664ca977a24d" providerId="ADAL" clId="{B9C38528-3DDD-4A97-9899-C95AD467A32F}" dt="2025-01-10T12:50:41.653" v="59" actId="20577"/>
        <pc:sldMkLst>
          <pc:docMk/>
          <pc:sldMk cId="3809428704" sldId="268"/>
        </pc:sldMkLst>
      </pc:sldChg>
      <pc:sldChg chg="modSp mod">
        <pc:chgData name="Iselin Ekeli Rønningsbakk" userId="187300ae-9cb6-416d-8a94-664ca977a24d" providerId="ADAL" clId="{B9C38528-3DDD-4A97-9899-C95AD467A32F}" dt="2025-01-10T12:53:07.462" v="97" actId="20577"/>
        <pc:sldMkLst>
          <pc:docMk/>
          <pc:sldMk cId="575956772" sldId="279"/>
        </pc:sldMkLst>
      </pc:sldChg>
      <pc:sldChg chg="modSp mod">
        <pc:chgData name="Iselin Ekeli Rønningsbakk" userId="187300ae-9cb6-416d-8a94-664ca977a24d" providerId="ADAL" clId="{B9C38528-3DDD-4A97-9899-C95AD467A32F}" dt="2025-01-10T12:51:38.685" v="65" actId="20577"/>
        <pc:sldMkLst>
          <pc:docMk/>
          <pc:sldMk cId="169717518" sldId="282"/>
        </pc:sldMkLst>
      </pc:sldChg>
    </pc:docChg>
  </pc:docChgLst>
  <pc:docChgLst>
    <pc:chgData name="Lars Tennbakk Bockman" userId="5a235df0-e381-4c4c-99ce-24b4b21fb9d1" providerId="ADAL" clId="{A05AB3F1-F083-414B-ACDB-A47E65D9BE65}"/>
    <pc:docChg chg="modSld">
      <pc:chgData name="Lars Tennbakk Bockman" userId="5a235df0-e381-4c4c-99ce-24b4b21fb9d1" providerId="ADAL" clId="{A05AB3F1-F083-414B-ACDB-A47E65D9BE65}" dt="2024-11-04T12:56:53.675" v="228" actId="20577"/>
      <pc:docMkLst>
        <pc:docMk/>
      </pc:docMkLst>
      <pc:sldChg chg="modSp mod">
        <pc:chgData name="Lars Tennbakk Bockman" userId="5a235df0-e381-4c4c-99ce-24b4b21fb9d1" providerId="ADAL" clId="{A05AB3F1-F083-414B-ACDB-A47E65D9BE65}" dt="2024-11-04T12:55:06.176" v="27" actId="20578"/>
        <pc:sldMkLst>
          <pc:docMk/>
          <pc:sldMk cId="3149972175" sldId="261"/>
        </pc:sldMkLst>
      </pc:sldChg>
      <pc:sldChg chg="modSp mod">
        <pc:chgData name="Lars Tennbakk Bockman" userId="5a235df0-e381-4c4c-99ce-24b4b21fb9d1" providerId="ADAL" clId="{A05AB3F1-F083-414B-ACDB-A47E65D9BE65}" dt="2024-11-04T12:55:46.567" v="81" actId="20577"/>
        <pc:sldMkLst>
          <pc:docMk/>
          <pc:sldMk cId="964345901" sldId="269"/>
        </pc:sldMkLst>
      </pc:sldChg>
      <pc:sldChg chg="modSp mod modCm">
        <pc:chgData name="Lars Tennbakk Bockman" userId="5a235df0-e381-4c4c-99ce-24b4b21fb9d1" providerId="ADAL" clId="{A05AB3F1-F083-414B-ACDB-A47E65D9BE65}" dt="2024-11-04T12:56:53.675" v="228" actId="20577"/>
        <pc:sldMkLst>
          <pc:docMk/>
          <pc:sldMk cId="4275014000" sldId="270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ars Tennbakk Bockman" userId="5a235df0-e381-4c4c-99ce-24b4b21fb9d1" providerId="ADAL" clId="{A05AB3F1-F083-414B-ACDB-A47E65D9BE65}" dt="2024-11-04T12:56:53.675" v="228" actId="20577"/>
              <pc2:cmMkLst xmlns:pc2="http://schemas.microsoft.com/office/powerpoint/2019/9/main/command">
                <pc:docMk/>
                <pc:sldMk cId="4275014000" sldId="270"/>
                <pc2:cmMk id="{5C8E7654-4B40-40DB-A81E-510CDC7753C2}"/>
              </pc2:cmMkLst>
            </pc226:cmChg>
          </p:ext>
        </pc:extLst>
      </pc:sldChg>
    </pc:docChg>
  </pc:docChgLst>
  <pc:docChgLst>
    <pc:chgData name="Iselin Ekeli Rønningsbakk" userId="187300ae-9cb6-416d-8a94-664ca977a24d" providerId="ADAL" clId="{A5F60BAD-EBB3-47CF-AA75-8C2F179065F4}"/>
    <pc:docChg chg="custSel modSld">
      <pc:chgData name="Iselin Ekeli Rønningsbakk" userId="187300ae-9cb6-416d-8a94-664ca977a24d" providerId="ADAL" clId="{A5F60BAD-EBB3-47CF-AA75-8C2F179065F4}" dt="2025-04-07T13:55:29.677" v="87" actId="6549"/>
      <pc:docMkLst>
        <pc:docMk/>
      </pc:docMkLst>
      <pc:sldChg chg="addSp delSp modSp mod">
        <pc:chgData name="Iselin Ekeli Rønningsbakk" userId="187300ae-9cb6-416d-8a94-664ca977a24d" providerId="ADAL" clId="{A5F60BAD-EBB3-47CF-AA75-8C2F179065F4}" dt="2025-04-07T13:55:29.677" v="87" actId="6549"/>
        <pc:sldMkLst>
          <pc:docMk/>
          <pc:sldMk cId="3149972175" sldId="261"/>
        </pc:sldMkLst>
        <pc:spChg chg="mod">
          <ac:chgData name="Iselin Ekeli Rønningsbakk" userId="187300ae-9cb6-416d-8a94-664ca977a24d" providerId="ADAL" clId="{A5F60BAD-EBB3-47CF-AA75-8C2F179065F4}" dt="2025-04-07T13:55:29.677" v="87" actId="6549"/>
          <ac:spMkLst>
            <pc:docMk/>
            <pc:sldMk cId="3149972175" sldId="261"/>
            <ac:spMk id="15" creationId="{71CD328A-FCBF-98DB-A3A2-36A13A7E9980}"/>
          </ac:spMkLst>
        </pc:spChg>
      </pc:sldChg>
    </pc:docChg>
  </pc:docChgLst>
  <pc:docChgLst>
    <pc:chgData name="Iselin Ekeli Rønningsbakk" userId="187300ae-9cb6-416d-8a94-664ca977a24d" providerId="ADAL" clId="{76BCABE4-86E4-4277-BE13-1E69073FECE9}"/>
    <pc:docChg chg="modSld">
      <pc:chgData name="Iselin Ekeli Rønningsbakk" userId="187300ae-9cb6-416d-8a94-664ca977a24d" providerId="ADAL" clId="{76BCABE4-86E4-4277-BE13-1E69073FECE9}" dt="2024-07-03T10:18:12.052" v="1008" actId="6549"/>
      <pc:docMkLst>
        <pc:docMk/>
      </pc:docMkLst>
      <pc:sldChg chg="modSp mod">
        <pc:chgData name="Iselin Ekeli Rønningsbakk" userId="187300ae-9cb6-416d-8a94-664ca977a24d" providerId="ADAL" clId="{76BCABE4-86E4-4277-BE13-1E69073FECE9}" dt="2024-07-03T08:43:21.612" v="36" actId="20577"/>
        <pc:sldMkLst>
          <pc:docMk/>
          <pc:sldMk cId="3149972175" sldId="261"/>
        </pc:sldMkLst>
      </pc:sldChg>
      <pc:sldChg chg="modSp mod">
        <pc:chgData name="Iselin Ekeli Rønningsbakk" userId="187300ae-9cb6-416d-8a94-664ca977a24d" providerId="ADAL" clId="{76BCABE4-86E4-4277-BE13-1E69073FECE9}" dt="2024-07-03T10:18:12.052" v="1008" actId="6549"/>
        <pc:sldMkLst>
          <pc:docMk/>
          <pc:sldMk cId="964345901" sldId="269"/>
        </pc:sldMkLst>
      </pc:sldChg>
    </pc:docChg>
  </pc:docChgLst>
  <pc:docChgLst>
    <pc:chgData name="Lars Tennbakk Bockman" userId="5a235df0-e381-4c4c-99ce-24b4b21fb9d1" providerId="ADAL" clId="{A4077F93-E2AB-46E2-80E5-72704175BD0D}"/>
    <pc:docChg chg="undo custSel modSld replTag">
      <pc:chgData name="Lars Tennbakk Bockman" userId="5a235df0-e381-4c4c-99ce-24b4b21fb9d1" providerId="ADAL" clId="{A4077F93-E2AB-46E2-80E5-72704175BD0D}" dt="2024-04-24T08:36:36.047" v="2479"/>
      <pc:docMkLst>
        <pc:docMk/>
      </pc:docMkLst>
    </pc:docChg>
  </pc:docChgLst>
  <pc:docChgLst>
    <pc:chgData name="Iselin Ekeli Rønningsbakk" userId="187300ae-9cb6-416d-8a94-664ca977a24d" providerId="ADAL" clId="{6D3122AF-6DAA-4CA4-9E60-9ADAFB76A1C2}"/>
    <pc:docChg chg="modSld">
      <pc:chgData name="Iselin Ekeli Rønningsbakk" userId="187300ae-9cb6-416d-8a94-664ca977a24d" providerId="ADAL" clId="{6D3122AF-6DAA-4CA4-9E60-9ADAFB76A1C2}" dt="2025-03-07T13:16:44.862" v="58" actId="20577"/>
      <pc:docMkLst>
        <pc:docMk/>
      </pc:docMkLst>
      <pc:sldChg chg="modSp mod">
        <pc:chgData name="Iselin Ekeli Rønningsbakk" userId="187300ae-9cb6-416d-8a94-664ca977a24d" providerId="ADAL" clId="{6D3122AF-6DAA-4CA4-9E60-9ADAFB76A1C2}" dt="2025-03-07T13:16:44.862" v="58" actId="20577"/>
        <pc:sldMkLst>
          <pc:docMk/>
          <pc:sldMk cId="3149972175" sldId="261"/>
        </pc:sldMkLst>
        <pc:spChg chg="mod">
          <ac:chgData name="Iselin Ekeli Rønningsbakk" userId="187300ae-9cb6-416d-8a94-664ca977a24d" providerId="ADAL" clId="{6D3122AF-6DAA-4CA4-9E60-9ADAFB76A1C2}" dt="2025-03-07T13:16:44.862" v="58" actId="20577"/>
          <ac:spMkLst>
            <pc:docMk/>
            <pc:sldMk cId="3149972175" sldId="261"/>
            <ac:spMk id="15" creationId="{71CD328A-FCBF-98DB-A3A2-36A13A7E9980}"/>
          </ac:spMkLst>
        </pc:spChg>
      </pc:sldChg>
    </pc:docChg>
  </pc:docChgLst>
  <pc:docChgLst>
    <pc:chgData name="Iselin Ekeli Rønningsbakk" userId="187300ae-9cb6-416d-8a94-664ca977a24d" providerId="ADAL" clId="{A46BBB59-7C80-47B4-BA79-54295B3E99B8}"/>
    <pc:docChg chg="undo custSel modSld">
      <pc:chgData name="Iselin Ekeli Rønningsbakk" userId="187300ae-9cb6-416d-8a94-664ca977a24d" providerId="ADAL" clId="{A46BBB59-7C80-47B4-BA79-54295B3E99B8}" dt="2024-07-05T07:19:06.314" v="9"/>
      <pc:docMkLst>
        <pc:docMk/>
      </pc:docMkLst>
      <pc:sldChg chg="modSp mod delCm">
        <pc:chgData name="Iselin Ekeli Rønningsbakk" userId="187300ae-9cb6-416d-8a94-664ca977a24d" providerId="ADAL" clId="{A46BBB59-7C80-47B4-BA79-54295B3E99B8}" dt="2024-07-05T07:19:06.314" v="9"/>
        <pc:sldMkLst>
          <pc:docMk/>
          <pc:sldMk cId="1400664593" sldId="275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Iselin Ekeli Rønningsbakk" userId="187300ae-9cb6-416d-8a94-664ca977a24d" providerId="ADAL" clId="{A46BBB59-7C80-47B4-BA79-54295B3E99B8}" dt="2024-07-05T07:19:06.314" v="9"/>
              <pc2:cmMkLst xmlns:pc2="http://schemas.microsoft.com/office/powerpoint/2019/9/main/command">
                <pc:docMk/>
                <pc:sldMk cId="1400664593" sldId="275"/>
                <pc2:cmMk id="{1185CF8E-90FD-444C-A1EF-F4250FF46D68}"/>
              </pc2:cmMkLst>
            </pc226:cmChg>
          </p:ext>
        </pc:extLst>
      </pc:sldChg>
    </pc:docChg>
  </pc:docChgLst>
  <pc:docChgLst>
    <pc:chgData name="Lars Tennbakk Bockman" userId="5a235df0-e381-4c4c-99ce-24b4b21fb9d1" providerId="ADAL" clId="{3ED9F7A5-96D9-44A5-9870-C0363E0E136F}"/>
    <pc:docChg chg="undo custSel modSld">
      <pc:chgData name="Lars Tennbakk Bockman" userId="5a235df0-e381-4c4c-99ce-24b4b21fb9d1" providerId="ADAL" clId="{3ED9F7A5-96D9-44A5-9870-C0363E0E136F}" dt="2025-03-04T13:12:32.546" v="5161" actId="20577"/>
      <pc:docMkLst>
        <pc:docMk/>
      </pc:docMkLst>
      <pc:sldChg chg="modSp mod">
        <pc:chgData name="Lars Tennbakk Bockman" userId="5a235df0-e381-4c4c-99ce-24b4b21fb9d1" providerId="ADAL" clId="{3ED9F7A5-96D9-44A5-9870-C0363E0E136F}" dt="2025-03-04T11:24:04.419" v="1656" actId="20577"/>
        <pc:sldMkLst>
          <pc:docMk/>
          <pc:sldMk cId="3149972175" sldId="261"/>
        </pc:sldMkLst>
        <pc:spChg chg="mod">
          <ac:chgData name="Lars Tennbakk Bockman" userId="5a235df0-e381-4c4c-99ce-24b4b21fb9d1" providerId="ADAL" clId="{3ED9F7A5-96D9-44A5-9870-C0363E0E136F}" dt="2025-03-03T15:44:59.571" v="142" actId="20577"/>
          <ac:spMkLst>
            <pc:docMk/>
            <pc:sldMk cId="3149972175" sldId="261"/>
            <ac:spMk id="2" creationId="{EB808BFC-B71A-C9E5-5827-2A0376474563}"/>
          </ac:spMkLst>
        </pc:spChg>
        <pc:spChg chg="mod">
          <ac:chgData name="Lars Tennbakk Bockman" userId="5a235df0-e381-4c4c-99ce-24b4b21fb9d1" providerId="ADAL" clId="{3ED9F7A5-96D9-44A5-9870-C0363E0E136F}" dt="2025-03-04T11:24:04.419" v="1656" actId="20577"/>
          <ac:spMkLst>
            <pc:docMk/>
            <pc:sldMk cId="3149972175" sldId="261"/>
            <ac:spMk id="15" creationId="{71CD328A-FCBF-98DB-A3A2-36A13A7E9980}"/>
          </ac:spMkLst>
        </pc:spChg>
      </pc:sldChg>
      <pc:sldChg chg="addSp delSp modSp mod">
        <pc:chgData name="Lars Tennbakk Bockman" userId="5a235df0-e381-4c4c-99ce-24b4b21fb9d1" providerId="ADAL" clId="{3ED9F7A5-96D9-44A5-9870-C0363E0E136F}" dt="2025-03-04T12:12:44.600" v="2261" actId="113"/>
        <pc:sldMkLst>
          <pc:docMk/>
          <pc:sldMk cId="362544367" sldId="264"/>
        </pc:sldMkLst>
        <pc:spChg chg="mod">
          <ac:chgData name="Lars Tennbakk Bockman" userId="5a235df0-e381-4c4c-99ce-24b4b21fb9d1" providerId="ADAL" clId="{3ED9F7A5-96D9-44A5-9870-C0363E0E136F}" dt="2025-03-04T12:12:08.450" v="2232" actId="14100"/>
          <ac:spMkLst>
            <pc:docMk/>
            <pc:sldMk cId="362544367" sldId="264"/>
            <ac:spMk id="6" creationId="{43281BD6-61B8-4DBB-3558-178E91D04924}"/>
          </ac:spMkLst>
        </pc:spChg>
        <pc:spChg chg="mod">
          <ac:chgData name="Lars Tennbakk Bockman" userId="5a235df0-e381-4c4c-99ce-24b4b21fb9d1" providerId="ADAL" clId="{3ED9F7A5-96D9-44A5-9870-C0363E0E136F}" dt="2025-03-04T12:12:15.396" v="2233" actId="14100"/>
          <ac:spMkLst>
            <pc:docMk/>
            <pc:sldMk cId="362544367" sldId="264"/>
            <ac:spMk id="11" creationId="{08E89037-2C15-7BA4-E420-580B2668841D}"/>
          </ac:spMkLst>
        </pc:spChg>
      </pc:sldChg>
      <pc:sldChg chg="modSp mod">
        <pc:chgData name="Lars Tennbakk Bockman" userId="5a235df0-e381-4c4c-99ce-24b4b21fb9d1" providerId="ADAL" clId="{3ED9F7A5-96D9-44A5-9870-C0363E0E136F}" dt="2025-03-04T13:12:32.546" v="5161" actId="20577"/>
        <pc:sldMkLst>
          <pc:docMk/>
          <pc:sldMk cId="3809428704" sldId="268"/>
        </pc:sldMkLst>
        <pc:spChg chg="mod">
          <ac:chgData name="Lars Tennbakk Bockman" userId="5a235df0-e381-4c4c-99ce-24b4b21fb9d1" providerId="ADAL" clId="{3ED9F7A5-96D9-44A5-9870-C0363E0E136F}" dt="2025-03-04T13:12:32.546" v="5161" actId="20577"/>
          <ac:spMkLst>
            <pc:docMk/>
            <pc:sldMk cId="3809428704" sldId="268"/>
            <ac:spMk id="2" creationId="{E225F7EA-99E6-543D-3D1D-6EACC2C8D6E1}"/>
          </ac:spMkLst>
        </pc:spChg>
        <pc:spChg chg="mod">
          <ac:chgData name="Lars Tennbakk Bockman" userId="5a235df0-e381-4c4c-99ce-24b4b21fb9d1" providerId="ADAL" clId="{3ED9F7A5-96D9-44A5-9870-C0363E0E136F}" dt="2025-03-04T12:58:40.791" v="4051" actId="20577"/>
          <ac:spMkLst>
            <pc:docMk/>
            <pc:sldMk cId="3809428704" sldId="268"/>
            <ac:spMk id="3" creationId="{8A3EFEB1-D7F7-A46E-7DED-AE462CEAB1A0}"/>
          </ac:spMkLst>
        </pc:spChg>
      </pc:sldChg>
      <pc:sldChg chg="modSp mod">
        <pc:chgData name="Lars Tennbakk Bockman" userId="5a235df0-e381-4c4c-99ce-24b4b21fb9d1" providerId="ADAL" clId="{3ED9F7A5-96D9-44A5-9870-C0363E0E136F}" dt="2025-03-04T11:27:31.317" v="1949" actId="20577"/>
        <pc:sldMkLst>
          <pc:docMk/>
          <pc:sldMk cId="964345901" sldId="269"/>
        </pc:sldMkLst>
        <pc:spChg chg="mod">
          <ac:chgData name="Lars Tennbakk Bockman" userId="5a235df0-e381-4c4c-99ce-24b4b21fb9d1" providerId="ADAL" clId="{3ED9F7A5-96D9-44A5-9870-C0363E0E136F}" dt="2025-03-03T15:40:45.859" v="24" actId="20577"/>
          <ac:spMkLst>
            <pc:docMk/>
            <pc:sldMk cId="964345901" sldId="269"/>
            <ac:spMk id="6" creationId="{98A31114-AE4A-2C3A-5034-C60474D62470}"/>
          </ac:spMkLst>
        </pc:spChg>
        <pc:spChg chg="mod">
          <ac:chgData name="Lars Tennbakk Bockman" userId="5a235df0-e381-4c4c-99ce-24b4b21fb9d1" providerId="ADAL" clId="{3ED9F7A5-96D9-44A5-9870-C0363E0E136F}" dt="2025-03-03T15:44:51.313" v="126" actId="20577"/>
          <ac:spMkLst>
            <pc:docMk/>
            <pc:sldMk cId="964345901" sldId="269"/>
            <ac:spMk id="11" creationId="{C9D230B1-551A-0E7A-96AB-ADE59A906758}"/>
          </ac:spMkLst>
        </pc:spChg>
        <pc:spChg chg="mod">
          <ac:chgData name="Lars Tennbakk Bockman" userId="5a235df0-e381-4c4c-99ce-24b4b21fb9d1" providerId="ADAL" clId="{3ED9F7A5-96D9-44A5-9870-C0363E0E136F}" dt="2025-03-04T11:27:31.317" v="1949" actId="20577"/>
          <ac:spMkLst>
            <pc:docMk/>
            <pc:sldMk cId="964345901" sldId="269"/>
            <ac:spMk id="15" creationId="{04DCDA78-71F1-811A-A7B3-AF6C80100E58}"/>
          </ac:spMkLst>
        </pc:spChg>
        <pc:picChg chg="mod">
          <ac:chgData name="Lars Tennbakk Bockman" userId="5a235df0-e381-4c4c-99ce-24b4b21fb9d1" providerId="ADAL" clId="{3ED9F7A5-96D9-44A5-9870-C0363E0E136F}" dt="2025-03-03T15:39:52.862" v="1" actId="1076"/>
          <ac:picMkLst>
            <pc:docMk/>
            <pc:sldMk cId="964345901" sldId="269"/>
            <ac:picMk id="4" creationId="{F1209CBB-C9AB-BA6E-3FAE-5B8063D6E61B}"/>
          </ac:picMkLst>
        </pc:picChg>
        <pc:picChg chg="mod">
          <ac:chgData name="Lars Tennbakk Bockman" userId="5a235df0-e381-4c4c-99ce-24b4b21fb9d1" providerId="ADAL" clId="{3ED9F7A5-96D9-44A5-9870-C0363E0E136F}" dt="2025-03-03T15:40:31.842" v="4" actId="14826"/>
          <ac:picMkLst>
            <pc:docMk/>
            <pc:sldMk cId="964345901" sldId="269"/>
            <ac:picMk id="9" creationId="{D21B8C53-AA53-A852-4492-9BA4D601B04E}"/>
          </ac:picMkLst>
        </pc:picChg>
        <pc:picChg chg="mod">
          <ac:chgData name="Lars Tennbakk Bockman" userId="5a235df0-e381-4c4c-99ce-24b4b21fb9d1" providerId="ADAL" clId="{3ED9F7A5-96D9-44A5-9870-C0363E0E136F}" dt="2025-03-03T15:40:08.271" v="3" actId="14826"/>
          <ac:picMkLst>
            <pc:docMk/>
            <pc:sldMk cId="964345901" sldId="269"/>
            <ac:picMk id="10" creationId="{D388F67E-CBD0-6D61-3BE3-4DCD8FC2400A}"/>
          </ac:picMkLst>
        </pc:picChg>
      </pc:sldChg>
      <pc:sldChg chg="modSp mod">
        <pc:chgData name="Lars Tennbakk Bockman" userId="5a235df0-e381-4c4c-99ce-24b4b21fb9d1" providerId="ADAL" clId="{3ED9F7A5-96D9-44A5-9870-C0363E0E136F}" dt="2025-03-03T15:44:55.873" v="135" actId="20577"/>
        <pc:sldMkLst>
          <pc:docMk/>
          <pc:sldMk cId="4275014000" sldId="270"/>
        </pc:sldMkLst>
        <pc:spChg chg="mod">
          <ac:chgData name="Lars Tennbakk Bockman" userId="5a235df0-e381-4c4c-99ce-24b4b21fb9d1" providerId="ADAL" clId="{3ED9F7A5-96D9-44A5-9870-C0363E0E136F}" dt="2025-03-03T15:41:17.851" v="41" actId="20577"/>
          <ac:spMkLst>
            <pc:docMk/>
            <pc:sldMk cId="4275014000" sldId="270"/>
            <ac:spMk id="8" creationId="{9F768446-0AB2-B3E1-3333-88CAAE767719}"/>
          </ac:spMkLst>
        </pc:spChg>
        <pc:spChg chg="mod">
          <ac:chgData name="Lars Tennbakk Bockman" userId="5a235df0-e381-4c4c-99ce-24b4b21fb9d1" providerId="ADAL" clId="{3ED9F7A5-96D9-44A5-9870-C0363E0E136F}" dt="2025-03-03T15:44:55.873" v="135" actId="20577"/>
          <ac:spMkLst>
            <pc:docMk/>
            <pc:sldMk cId="4275014000" sldId="270"/>
            <ac:spMk id="11" creationId="{C9D230B1-551A-0E7A-96AB-ADE59A906758}"/>
          </ac:spMkLst>
        </pc:spChg>
        <pc:picChg chg="mod">
          <ac:chgData name="Lars Tennbakk Bockman" userId="5a235df0-e381-4c4c-99ce-24b4b21fb9d1" providerId="ADAL" clId="{3ED9F7A5-96D9-44A5-9870-C0363E0E136F}" dt="2025-03-03T15:41:29.676" v="42" actId="14826"/>
          <ac:picMkLst>
            <pc:docMk/>
            <pc:sldMk cId="4275014000" sldId="270"/>
            <ac:picMk id="4" creationId="{333A123B-CC7B-438C-45B1-FD90C4A986EA}"/>
          </ac:picMkLst>
        </pc:picChg>
        <pc:picChg chg="mod">
          <ac:chgData name="Lars Tennbakk Bockman" userId="5a235df0-e381-4c4c-99ce-24b4b21fb9d1" providerId="ADAL" clId="{3ED9F7A5-96D9-44A5-9870-C0363E0E136F}" dt="2025-03-03T15:41:10.924" v="25" actId="14826"/>
          <ac:picMkLst>
            <pc:docMk/>
            <pc:sldMk cId="4275014000" sldId="270"/>
            <ac:picMk id="5" creationId="{1FC70556-B41D-FA15-EDBD-21B7105AEC8B}"/>
          </ac:picMkLst>
        </pc:picChg>
        <pc:picChg chg="mod">
          <ac:chgData name="Lars Tennbakk Bockman" userId="5a235df0-e381-4c4c-99ce-24b4b21fb9d1" providerId="ADAL" clId="{3ED9F7A5-96D9-44A5-9870-C0363E0E136F}" dt="2025-03-03T15:41:35.429" v="43" actId="14826"/>
          <ac:picMkLst>
            <pc:docMk/>
            <pc:sldMk cId="4275014000" sldId="270"/>
            <ac:picMk id="6" creationId="{E247D54D-3951-79FF-87AE-26509570666F}"/>
          </ac:picMkLst>
        </pc:picChg>
      </pc:sldChg>
      <pc:sldChg chg="addSp delSp modSp mod">
        <pc:chgData name="Lars Tennbakk Bockman" userId="5a235df0-e381-4c4c-99ce-24b4b21fb9d1" providerId="ADAL" clId="{3ED9F7A5-96D9-44A5-9870-C0363E0E136F}" dt="2025-03-04T12:17:17.194" v="2330" actId="20577"/>
        <pc:sldMkLst>
          <pc:docMk/>
          <pc:sldMk cId="4169780862" sldId="274"/>
        </pc:sldMkLst>
      </pc:sldChg>
      <pc:sldChg chg="modSp mod">
        <pc:chgData name="Lars Tennbakk Bockman" userId="5a235df0-e381-4c4c-99ce-24b4b21fb9d1" providerId="ADAL" clId="{3ED9F7A5-96D9-44A5-9870-C0363E0E136F}" dt="2025-03-04T12:11:25.256" v="2226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3ED9F7A5-96D9-44A5-9870-C0363E0E136F}" dt="2025-03-04T12:11:25.256" v="2226" actId="20577"/>
          <ac:spMkLst>
            <pc:docMk/>
            <pc:sldMk cId="1400664593" sldId="275"/>
            <ac:spMk id="13" creationId="{D3816D81-2F0C-5C31-0215-8B391B6646ED}"/>
          </ac:spMkLst>
        </pc:spChg>
        <pc:picChg chg="mod">
          <ac:chgData name="Lars Tennbakk Bockman" userId="5a235df0-e381-4c4c-99ce-24b4b21fb9d1" providerId="ADAL" clId="{3ED9F7A5-96D9-44A5-9870-C0363E0E136F}" dt="2025-03-03T15:41:52.081" v="45" actId="14826"/>
          <ac:picMkLst>
            <pc:docMk/>
            <pc:sldMk cId="1400664593" sldId="275"/>
            <ac:picMk id="10" creationId="{EDD2A1DB-03B4-A540-E2CF-68A1C96AF138}"/>
          </ac:picMkLst>
        </pc:picChg>
        <pc:picChg chg="mod">
          <ac:chgData name="Lars Tennbakk Bockman" userId="5a235df0-e381-4c4c-99ce-24b4b21fb9d1" providerId="ADAL" clId="{3ED9F7A5-96D9-44A5-9870-C0363E0E136F}" dt="2025-03-03T15:42:07.746" v="46" actId="14826"/>
          <ac:picMkLst>
            <pc:docMk/>
            <pc:sldMk cId="1400664593" sldId="275"/>
            <ac:picMk id="12" creationId="{475A88D7-D294-62B2-8755-82110AB84DD1}"/>
          </ac:picMkLst>
        </pc:picChg>
        <pc:picChg chg="mod">
          <ac:chgData name="Lars Tennbakk Bockman" userId="5a235df0-e381-4c4c-99ce-24b4b21fb9d1" providerId="ADAL" clId="{3ED9F7A5-96D9-44A5-9870-C0363E0E136F}" dt="2025-03-03T15:42:11.115" v="47" actId="1076"/>
          <ac:picMkLst>
            <pc:docMk/>
            <pc:sldMk cId="1400664593" sldId="275"/>
            <ac:picMk id="1026" creationId="{A3000F04-E780-98BA-A9F5-FBB1AD330F20}"/>
          </ac:picMkLst>
        </pc:picChg>
        <pc:picChg chg="mod">
          <ac:chgData name="Lars Tennbakk Bockman" userId="5a235df0-e381-4c4c-99ce-24b4b21fb9d1" providerId="ADAL" clId="{3ED9F7A5-96D9-44A5-9870-C0363E0E136F}" dt="2025-03-03T15:42:24.611" v="54" actId="1076"/>
          <ac:picMkLst>
            <pc:docMk/>
            <pc:sldMk cId="1400664593" sldId="275"/>
            <ac:picMk id="1028" creationId="{7BD95610-1C21-5E69-CD9D-A797BAA38B11}"/>
          </ac:picMkLst>
        </pc:picChg>
        <pc:picChg chg="mod">
          <ac:chgData name="Lars Tennbakk Bockman" userId="5a235df0-e381-4c4c-99ce-24b4b21fb9d1" providerId="ADAL" clId="{3ED9F7A5-96D9-44A5-9870-C0363E0E136F}" dt="2025-03-03T15:42:13.803" v="49" actId="1076"/>
          <ac:picMkLst>
            <pc:docMk/>
            <pc:sldMk cId="1400664593" sldId="275"/>
            <ac:picMk id="1030" creationId="{ACF3AF7C-A2DE-81CC-E858-516CB40827CE}"/>
          </ac:picMkLst>
        </pc:picChg>
        <pc:picChg chg="mod">
          <ac:chgData name="Lars Tennbakk Bockman" userId="5a235df0-e381-4c4c-99ce-24b4b21fb9d1" providerId="ADAL" clId="{3ED9F7A5-96D9-44A5-9870-C0363E0E136F}" dt="2025-03-03T15:42:12.219" v="48" actId="1076"/>
          <ac:picMkLst>
            <pc:docMk/>
            <pc:sldMk cId="1400664593" sldId="275"/>
            <ac:picMk id="1032" creationId="{8EF0B950-C72C-D5A3-948A-06A2609A5B96}"/>
          </ac:picMkLst>
        </pc:picChg>
        <pc:picChg chg="mod">
          <ac:chgData name="Lars Tennbakk Bockman" userId="5a235df0-e381-4c4c-99ce-24b4b21fb9d1" providerId="ADAL" clId="{3ED9F7A5-96D9-44A5-9870-C0363E0E136F}" dt="2025-03-03T15:42:19.260" v="51" actId="1076"/>
          <ac:picMkLst>
            <pc:docMk/>
            <pc:sldMk cId="1400664593" sldId="275"/>
            <ac:picMk id="1034" creationId="{93E8EE5C-F00F-9D19-55F8-6D26C9255442}"/>
          </ac:picMkLst>
        </pc:picChg>
      </pc:sldChg>
      <pc:sldChg chg="modSp">
        <pc:chgData name="Lars Tennbakk Bockman" userId="5a235df0-e381-4c4c-99ce-24b4b21fb9d1" providerId="ADAL" clId="{3ED9F7A5-96D9-44A5-9870-C0363E0E136F}" dt="2025-03-04T12:23:19.422" v="2331" actId="14826"/>
        <pc:sldMkLst>
          <pc:docMk/>
          <pc:sldMk cId="3048309862" sldId="277"/>
        </pc:sldMkLst>
        <pc:picChg chg="mod">
          <ac:chgData name="Lars Tennbakk Bockman" userId="5a235df0-e381-4c4c-99ce-24b4b21fb9d1" providerId="ADAL" clId="{3ED9F7A5-96D9-44A5-9870-C0363E0E136F}" dt="2025-03-04T12:23:19.422" v="2331" actId="14826"/>
          <ac:picMkLst>
            <pc:docMk/>
            <pc:sldMk cId="3048309862" sldId="277"/>
            <ac:picMk id="15" creationId="{E74EA589-72EA-AA47-0E44-BCAE8A4D908E}"/>
          </ac:picMkLst>
        </pc:picChg>
      </pc:sldChg>
    </pc:docChg>
  </pc:docChgLst>
  <pc:docChgLst>
    <pc:chgData name="Lars Tennbakk Bockman" userId="S::lars.bockman@fornybarnorge.no::5a235df0-e381-4c4c-99ce-24b4b21fb9d1" providerId="AD" clId="Web-{135D72C6-048A-1E52-1933-57CFC18A5CB6}"/>
    <pc:docChg chg="">
      <pc:chgData name="Lars Tennbakk Bockman" userId="S::lars.bockman@fornybarnorge.no::5a235df0-e381-4c4c-99ce-24b4b21fb9d1" providerId="AD" clId="Web-{135D72C6-048A-1E52-1933-57CFC18A5CB6}" dt="2024-06-05T13:57:23.973" v="0"/>
      <pc:docMkLst>
        <pc:docMk/>
      </pc:docMkLst>
    </pc:docChg>
  </pc:docChgLst>
  <pc:docChgLst>
    <pc:chgData name="Lars Tennbakk Bockman" userId="5a235df0-e381-4c4c-99ce-24b4b21fb9d1" providerId="ADAL" clId="{37EF9059-D99C-4752-86C1-B8EAEF640EE7}"/>
    <pc:docChg chg="custSel modSld">
      <pc:chgData name="Lars Tennbakk Bockman" userId="5a235df0-e381-4c4c-99ce-24b4b21fb9d1" providerId="ADAL" clId="{37EF9059-D99C-4752-86C1-B8EAEF640EE7}" dt="2024-05-03T09:21:35.955" v="166" actId="2711"/>
      <pc:docMkLst>
        <pc:docMk/>
      </pc:docMkLst>
      <pc:sldChg chg="modSp mod">
        <pc:chgData name="Lars Tennbakk Bockman" userId="5a235df0-e381-4c4c-99ce-24b4b21fb9d1" providerId="ADAL" clId="{37EF9059-D99C-4752-86C1-B8EAEF640EE7}" dt="2024-05-03T09:14:57.274" v="49" actId="1076"/>
        <pc:sldMkLst>
          <pc:docMk/>
          <pc:sldMk cId="362544367" sldId="264"/>
        </pc:sldMkLst>
      </pc:sldChg>
      <pc:sldChg chg="modSp mod">
        <pc:chgData name="Lars Tennbakk Bockman" userId="5a235df0-e381-4c4c-99ce-24b4b21fb9d1" providerId="ADAL" clId="{37EF9059-D99C-4752-86C1-B8EAEF640EE7}" dt="2024-05-03T09:12:48.498" v="40" actId="20577"/>
        <pc:sldMkLst>
          <pc:docMk/>
          <pc:sldMk cId="964345901" sldId="269"/>
        </pc:sldMkLst>
      </pc:sldChg>
      <pc:sldChg chg="modSp">
        <pc:chgData name="Lars Tennbakk Bockman" userId="5a235df0-e381-4c4c-99ce-24b4b21fb9d1" providerId="ADAL" clId="{37EF9059-D99C-4752-86C1-B8EAEF640EE7}" dt="2024-05-03T09:05:01.521" v="2" actId="14826"/>
        <pc:sldMkLst>
          <pc:docMk/>
          <pc:sldMk cId="4275014000" sldId="270"/>
        </pc:sldMkLst>
      </pc:sldChg>
      <pc:sldChg chg="addSp delSp modSp mod">
        <pc:chgData name="Lars Tennbakk Bockman" userId="5a235df0-e381-4c4c-99ce-24b4b21fb9d1" providerId="ADAL" clId="{37EF9059-D99C-4752-86C1-B8EAEF640EE7}" dt="2024-05-03T09:21:35.955" v="166" actId="2711"/>
        <pc:sldMkLst>
          <pc:docMk/>
          <pc:sldMk cId="4169780862" sldId="274"/>
        </pc:sldMkLst>
      </pc:sldChg>
      <pc:sldChg chg="modSp mod">
        <pc:chgData name="Lars Tennbakk Bockman" userId="5a235df0-e381-4c4c-99ce-24b4b21fb9d1" providerId="ADAL" clId="{37EF9059-D99C-4752-86C1-B8EAEF640EE7}" dt="2024-05-03T09:12:25.161" v="24" actId="20577"/>
        <pc:sldMkLst>
          <pc:docMk/>
          <pc:sldMk cId="1400664593" sldId="275"/>
        </pc:sldMkLst>
      </pc:sldChg>
    </pc:docChg>
  </pc:docChgLst>
  <pc:docChgLst>
    <pc:chgData name="Iselin Ekeli Rønningsbakk" userId="187300ae-9cb6-416d-8a94-664ca977a24d" providerId="ADAL" clId="{A1986C05-77AD-4C81-B532-0C47688F9970}"/>
    <pc:docChg chg="undo custSel addSld delSld modSld">
      <pc:chgData name="Iselin Ekeli Rønningsbakk" userId="187300ae-9cb6-416d-8a94-664ca977a24d" providerId="ADAL" clId="{A1986C05-77AD-4C81-B532-0C47688F9970}" dt="2024-09-10T14:13:09.831" v="2511" actId="14826"/>
      <pc:docMkLst>
        <pc:docMk/>
      </pc:docMkLst>
      <pc:sldChg chg="modSp mod">
        <pc:chgData name="Iselin Ekeli Rønningsbakk" userId="187300ae-9cb6-416d-8a94-664ca977a24d" providerId="ADAL" clId="{A1986C05-77AD-4C81-B532-0C47688F9970}" dt="2024-09-10T13:06:14.787" v="2508" actId="6549"/>
        <pc:sldMkLst>
          <pc:docMk/>
          <pc:sldMk cId="4148148830" sldId="259"/>
        </pc:sldMkLst>
      </pc:sldChg>
      <pc:sldChg chg="add del setBg">
        <pc:chgData name="Iselin Ekeli Rønningsbakk" userId="187300ae-9cb6-416d-8a94-664ca977a24d" providerId="ADAL" clId="{A1986C05-77AD-4C81-B532-0C47688F9970}" dt="2024-09-10T14:12:34.901" v="2510"/>
        <pc:sldMkLst>
          <pc:docMk/>
          <pc:sldMk cId="1380827816" sldId="262"/>
        </pc:sldMkLst>
      </pc:sldChg>
    </pc:docChg>
  </pc:docChgLst>
  <pc:docChgLst>
    <pc:chgData clId="Web-{7492D111-7293-4795-8678-B3671B4EF338}"/>
    <pc:docChg chg="">
      <pc:chgData name="" userId="" providerId="" clId="Web-{7492D111-7293-4795-8678-B3671B4EF338}" dt="2024-04-11T13:36:34.845" v="0"/>
      <pc:docMkLst>
        <pc:docMk/>
      </pc:docMkLst>
    </pc:docChg>
  </pc:docChgLst>
  <pc:docChgLst>
    <pc:chgData name="Iselin Ekeli Rønningsbakk" userId="187300ae-9cb6-416d-8a94-664ca977a24d" providerId="ADAL" clId="{8BC88EEB-960C-4923-AE0E-E6E6F3F4E1BA}"/>
    <pc:docChg chg="undo custSel addSld delSld modSld">
      <pc:chgData name="Iselin Ekeli Rønningsbakk" userId="187300ae-9cb6-416d-8a94-664ca977a24d" providerId="ADAL" clId="{8BC88EEB-960C-4923-AE0E-E6E6F3F4E1BA}" dt="2024-10-03T11:52:06.073" v="559" actId="6549"/>
      <pc:docMkLst>
        <pc:docMk/>
      </pc:docMkLst>
      <pc:sldChg chg="add del setBg">
        <pc:chgData name="Iselin Ekeli Rønningsbakk" userId="187300ae-9cb6-416d-8a94-664ca977a24d" providerId="ADAL" clId="{8BC88EEB-960C-4923-AE0E-E6E6F3F4E1BA}" dt="2024-10-03T11:15:18.081" v="7"/>
        <pc:sldMkLst>
          <pc:docMk/>
          <pc:sldMk cId="1380827816" sldId="262"/>
        </pc:sldMkLst>
      </pc:sldChg>
    </pc:docChg>
  </pc:docChgLst>
  <pc:docChgLst>
    <pc:chgData name="Lars Tennbakk Bockman" userId="5a235df0-e381-4c4c-99ce-24b4b21fb9d1" providerId="ADAL" clId="{BA722753-AECD-42BA-AFBB-BA15DC32378A}"/>
    <pc:docChg chg="undo custSel addSld delSld modSld">
      <pc:chgData name="Lars Tennbakk Bockman" userId="5a235df0-e381-4c4c-99ce-24b4b21fb9d1" providerId="ADAL" clId="{BA722753-AECD-42BA-AFBB-BA15DC32378A}" dt="2024-07-05T07:18:45.592" v="1810" actId="20577"/>
      <pc:docMkLst>
        <pc:docMk/>
      </pc:docMkLst>
    </pc:docChg>
  </pc:docChgLst>
  <pc:docChgLst>
    <pc:chgData name="Lars Bockman" userId="5a235df0-e381-4c4c-99ce-24b4b21fb9d1" providerId="ADAL" clId="{4F9A5B8A-219F-4CFC-84AD-F24907C89CAF}"/>
    <pc:docChg chg="custSel delSld modSld">
      <pc:chgData name="Lars Bockman" userId="5a235df0-e381-4c4c-99ce-24b4b21fb9d1" providerId="ADAL" clId="{4F9A5B8A-219F-4CFC-84AD-F24907C89CAF}" dt="2024-06-26T08:43:15.269" v="1800" actId="20577"/>
      <pc:docMkLst>
        <pc:docMk/>
      </pc:docMkLst>
      <pc:sldChg chg="modSp del mod">
        <pc:chgData name="Lars Bockman" userId="5a235df0-e381-4c4c-99ce-24b4b21fb9d1" providerId="ADAL" clId="{4F9A5B8A-219F-4CFC-84AD-F24907C89CAF}" dt="2024-06-26T08:30:18.717" v="1336" actId="47"/>
        <pc:sldMkLst>
          <pc:docMk/>
          <pc:sldMk cId="4100358197" sldId="278"/>
        </pc:sldMkLst>
      </pc:sldChg>
    </pc:docChg>
  </pc:docChgLst>
  <pc:docChgLst>
    <pc:chgData name="Iselin Ekeli Rønningsbakk" userId="187300ae-9cb6-416d-8a94-664ca977a24d" providerId="ADAL" clId="{DE459365-3FDD-4A9E-A6B8-E759B173B681}"/>
    <pc:docChg chg="modSld">
      <pc:chgData name="Iselin Ekeli Rønningsbakk" userId="187300ae-9cb6-416d-8a94-664ca977a24d" providerId="ADAL" clId="{DE459365-3FDD-4A9E-A6B8-E759B173B681}" dt="2025-01-06T09:10:55.786" v="179" actId="20577"/>
      <pc:docMkLst>
        <pc:docMk/>
      </pc:docMkLst>
      <pc:sldChg chg="modSp mod">
        <pc:chgData name="Iselin Ekeli Rønningsbakk" userId="187300ae-9cb6-416d-8a94-664ca977a24d" providerId="ADAL" clId="{DE459365-3FDD-4A9E-A6B8-E759B173B681}" dt="2025-01-06T09:10:55.786" v="179" actId="20577"/>
        <pc:sldMkLst>
          <pc:docMk/>
          <pc:sldMk cId="575956772" sldId="279"/>
        </pc:sldMkLst>
      </pc:sldChg>
    </pc:docChg>
  </pc:docChgLst>
  <pc:docChgLst>
    <pc:chgData name="Lars Tennbakk Bockman" userId="S::lars.bockman@fornybarnorge.no::5a235df0-e381-4c4c-99ce-24b4b21fb9d1" providerId="AD" clId="Web-{0E403DBB-366D-95A5-5D6E-EAE43DF9A04A}"/>
    <pc:docChg chg="modSld">
      <pc:chgData name="Lars Tennbakk Bockman" userId="S::lars.bockman@fornybarnorge.no::5a235df0-e381-4c4c-99ce-24b4b21fb9d1" providerId="AD" clId="Web-{0E403DBB-366D-95A5-5D6E-EAE43DF9A04A}" dt="2025-03-07T14:17:22.883" v="2" actId="20577"/>
      <pc:docMkLst>
        <pc:docMk/>
      </pc:docMkLst>
    </pc:docChg>
  </pc:docChgLst>
  <pc:docChgLst>
    <pc:chgData name="Iselin Ekeli Rønningsbakk" userId="187300ae-9cb6-416d-8a94-664ca977a24d" providerId="ADAL" clId="{563A579B-ED2D-4DAC-9079-75A125373D0D}"/>
    <pc:docChg chg="undo custSel modSld">
      <pc:chgData name="Iselin Ekeli Rønningsbakk" userId="187300ae-9cb6-416d-8a94-664ca977a24d" providerId="ADAL" clId="{563A579B-ED2D-4DAC-9079-75A125373D0D}" dt="2025-04-11T11:26:53.299" v="3795" actId="20577"/>
      <pc:docMkLst>
        <pc:docMk/>
      </pc:docMkLst>
      <pc:sldChg chg="modSp mod">
        <pc:chgData name="Iselin Ekeli Rønningsbakk" userId="187300ae-9cb6-416d-8a94-664ca977a24d" providerId="ADAL" clId="{563A579B-ED2D-4DAC-9079-75A125373D0D}" dt="2025-04-11T09:19:10.235" v="2855" actId="6549"/>
        <pc:sldMkLst>
          <pc:docMk/>
          <pc:sldMk cId="3149972175" sldId="261"/>
        </pc:sldMkLst>
        <pc:spChg chg="mod">
          <ac:chgData name="Iselin Ekeli Rønningsbakk" userId="187300ae-9cb6-416d-8a94-664ca977a24d" providerId="ADAL" clId="{563A579B-ED2D-4DAC-9079-75A125373D0D}" dt="2025-04-11T09:19:10.235" v="2855" actId="6549"/>
          <ac:spMkLst>
            <pc:docMk/>
            <pc:sldMk cId="3149972175" sldId="261"/>
            <ac:spMk id="15" creationId="{71CD328A-FCBF-98DB-A3A2-36A13A7E9980}"/>
          </ac:spMkLst>
        </pc:spChg>
      </pc:sldChg>
      <pc:sldChg chg="modSp mod">
        <pc:chgData name="Iselin Ekeli Rønningsbakk" userId="187300ae-9cb6-416d-8a94-664ca977a24d" providerId="ADAL" clId="{563A579B-ED2D-4DAC-9079-75A125373D0D}" dt="2025-04-11T11:26:53.299" v="3795" actId="20577"/>
        <pc:sldMkLst>
          <pc:docMk/>
          <pc:sldMk cId="3809428704" sldId="268"/>
        </pc:sldMkLst>
        <pc:spChg chg="mod">
          <ac:chgData name="Iselin Ekeli Rønningsbakk" userId="187300ae-9cb6-416d-8a94-664ca977a24d" providerId="ADAL" clId="{563A579B-ED2D-4DAC-9079-75A125373D0D}" dt="2025-04-11T11:26:53.299" v="3795" actId="20577"/>
          <ac:spMkLst>
            <pc:docMk/>
            <pc:sldMk cId="3809428704" sldId="268"/>
            <ac:spMk id="2" creationId="{E225F7EA-99E6-543D-3D1D-6EACC2C8D6E1}"/>
          </ac:spMkLst>
        </pc:spChg>
      </pc:sldChg>
      <pc:sldChg chg="modSp mod">
        <pc:chgData name="Iselin Ekeli Rønningsbakk" userId="187300ae-9cb6-416d-8a94-664ca977a24d" providerId="ADAL" clId="{563A579B-ED2D-4DAC-9079-75A125373D0D}" dt="2025-04-11T09:20:41.580" v="3228" actId="6549"/>
        <pc:sldMkLst>
          <pc:docMk/>
          <pc:sldMk cId="964345901" sldId="269"/>
        </pc:sldMkLst>
        <pc:spChg chg="mod">
          <ac:chgData name="Iselin Ekeli Rønningsbakk" userId="187300ae-9cb6-416d-8a94-664ca977a24d" providerId="ADAL" clId="{563A579B-ED2D-4DAC-9079-75A125373D0D}" dt="2025-04-11T09:20:41.580" v="3228" actId="6549"/>
          <ac:spMkLst>
            <pc:docMk/>
            <pc:sldMk cId="964345901" sldId="269"/>
            <ac:spMk id="15" creationId="{04DCDA78-71F1-811A-A7B3-AF6C80100E58}"/>
          </ac:spMkLst>
        </pc:spChg>
      </pc:sldChg>
      <pc:sldChg chg="modSp mod">
        <pc:chgData name="Iselin Ekeli Rønningsbakk" userId="187300ae-9cb6-416d-8a94-664ca977a24d" providerId="ADAL" clId="{563A579B-ED2D-4DAC-9079-75A125373D0D}" dt="2025-04-11T09:23:53.417" v="3694" actId="20577"/>
        <pc:sldMkLst>
          <pc:docMk/>
          <pc:sldMk cId="4275014000" sldId="270"/>
        </pc:sldMkLst>
        <pc:spChg chg="mod">
          <ac:chgData name="Iselin Ekeli Rønningsbakk" userId="187300ae-9cb6-416d-8a94-664ca977a24d" providerId="ADAL" clId="{563A579B-ED2D-4DAC-9079-75A125373D0D}" dt="2025-04-11T09:23:53.417" v="3694" actId="20577"/>
          <ac:spMkLst>
            <pc:docMk/>
            <pc:sldMk cId="4275014000" sldId="270"/>
            <ac:spMk id="14" creationId="{21531C8D-908F-3C5D-76AA-208A0DF8D559}"/>
          </ac:spMkLst>
        </pc:spChg>
      </pc:sldChg>
    </pc:docChg>
  </pc:docChgLst>
  <pc:docChgLst>
    <pc:chgData name="Iselin Ekeli Rønningsbakk" userId="187300ae-9cb6-416d-8a94-664ca977a24d" providerId="ADAL" clId="{750B9AAA-1068-463C-A928-621951E880E7}"/>
    <pc:docChg chg="modSld">
      <pc:chgData name="Iselin Ekeli Rønningsbakk" userId="187300ae-9cb6-416d-8a94-664ca977a24d" providerId="ADAL" clId="{750B9AAA-1068-463C-A928-621951E880E7}" dt="2024-05-08T11:20:58.602" v="1158" actId="20577"/>
      <pc:docMkLst>
        <pc:docMk/>
      </pc:docMkLst>
    </pc:docChg>
  </pc:docChgLst>
  <pc:docChgLst>
    <pc:chgData name="Lars Tennbakk Bockman" userId="S::lars.bockman@fornybarnorge.no::5a235df0-e381-4c4c-99ce-24b4b21fb9d1" providerId="AD" clId="Web-{F005A6CC-5FA6-3AFF-7E17-C2A975F516E2}"/>
    <pc:docChg chg="modSld">
      <pc:chgData name="Lars Tennbakk Bockman" userId="S::lars.bockman@fornybarnorge.no::5a235df0-e381-4c4c-99ce-24b4b21fb9d1" providerId="AD" clId="Web-{F005A6CC-5FA6-3AFF-7E17-C2A975F516E2}" dt="2025-05-07T10:33:45.541" v="6" actId="20577"/>
      <pc:docMkLst>
        <pc:docMk/>
      </pc:docMkLst>
      <pc:sldChg chg="modSp modCm">
        <pc:chgData name="Lars Tennbakk Bockman" userId="S::lars.bockman@fornybarnorge.no::5a235df0-e381-4c4c-99ce-24b4b21fb9d1" providerId="AD" clId="Web-{F005A6CC-5FA6-3AFF-7E17-C2A975F516E2}" dt="2025-05-07T10:33:45.541" v="6" actId="20577"/>
        <pc:sldMkLst>
          <pc:docMk/>
          <pc:sldMk cId="3149972175" sldId="261"/>
        </pc:sldMkLst>
        <pc:spChg chg="mod">
          <ac:chgData name="Lars Tennbakk Bockman" userId="S::lars.bockman@fornybarnorge.no::5a235df0-e381-4c4c-99ce-24b4b21fb9d1" providerId="AD" clId="Web-{F005A6CC-5FA6-3AFF-7E17-C2A975F516E2}" dt="2025-05-07T10:33:45.541" v="6" actId="20577"/>
          <ac:spMkLst>
            <pc:docMk/>
            <pc:sldMk cId="3149972175" sldId="261"/>
            <ac:spMk id="15" creationId="{71CD328A-FCBF-98DB-A3A2-36A13A7E998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ars Tennbakk Bockman" userId="S::lars.bockman@fornybarnorge.no::5a235df0-e381-4c4c-99ce-24b4b21fb9d1" providerId="AD" clId="Web-{F005A6CC-5FA6-3AFF-7E17-C2A975F516E2}" dt="2025-05-07T10:33:45.541" v="6" actId="20577"/>
              <pc2:cmMkLst xmlns:pc2="http://schemas.microsoft.com/office/powerpoint/2019/9/main/command">
                <pc:docMk/>
                <pc:sldMk cId="3149972175" sldId="261"/>
                <pc2:cmMk id="{1E014AEB-2E7B-459D-95E9-1B6817B2761F}"/>
              </pc2:cmMkLst>
            </pc226:cmChg>
          </p:ext>
        </pc:extLst>
      </pc:sldChg>
    </pc:docChg>
  </pc:docChgLst>
  <pc:docChgLst>
    <pc:chgData name="Iselin Ekeli Rønningsbakk" userId="187300ae-9cb6-416d-8a94-664ca977a24d" providerId="ADAL" clId="{083BC471-8958-4C20-99D7-332236085493}"/>
    <pc:docChg chg="modSld">
      <pc:chgData name="Iselin Ekeli Rønningsbakk" userId="187300ae-9cb6-416d-8a94-664ca977a24d" providerId="ADAL" clId="{083BC471-8958-4C20-99D7-332236085493}" dt="2025-03-06T19:46:52.563" v="34" actId="6549"/>
      <pc:docMkLst>
        <pc:docMk/>
      </pc:docMkLst>
    </pc:docChg>
  </pc:docChgLst>
  <pc:docChgLst>
    <pc:chgData name="Iselin Ekeli Rønningsbakk" userId="187300ae-9cb6-416d-8a94-664ca977a24d" providerId="ADAL" clId="{A982F088-28B0-44E7-A540-057AB14E26F1}"/>
    <pc:docChg chg="">
      <pc:chgData name="Iselin Ekeli Rønningsbakk" userId="187300ae-9cb6-416d-8a94-664ca977a24d" providerId="ADAL" clId="{A982F088-28B0-44E7-A540-057AB14E26F1}" dt="2024-05-13T09:04:11.853" v="0"/>
      <pc:docMkLst>
        <pc:docMk/>
      </pc:docMkLst>
    </pc:docChg>
  </pc:docChgLst>
  <pc:docChgLst>
    <pc:chgData name="Lars Tennbakk Bockman" userId="5a235df0-e381-4c4c-99ce-24b4b21fb9d1" providerId="ADAL" clId="{67C030E1-BD0F-4D73-AD5D-26A3BAF25637}"/>
    <pc:docChg chg="custSel modSld">
      <pc:chgData name="Lars Tennbakk Bockman" userId="5a235df0-e381-4c4c-99ce-24b4b21fb9d1" providerId="ADAL" clId="{67C030E1-BD0F-4D73-AD5D-26A3BAF25637}" dt="2025-03-07T12:36:27.538" v="211" actId="20577"/>
      <pc:docMkLst>
        <pc:docMk/>
      </pc:docMkLst>
    </pc:docChg>
  </pc:docChgLst>
  <pc:docChgLst>
    <pc:chgData name="Iselin Ekeli Rønningsbakk" userId="187300ae-9cb6-416d-8a94-664ca977a24d" providerId="ADAL" clId="{DE44C537-DB6F-4243-9C35-4B6CAECAAEF1}"/>
    <pc:docChg chg="custSel modSld">
      <pc:chgData name="Iselin Ekeli Rønningsbakk" userId="187300ae-9cb6-416d-8a94-664ca977a24d" providerId="ADAL" clId="{DE44C537-DB6F-4243-9C35-4B6CAECAAEF1}" dt="2024-07-01T12:36:51.606" v="247" actId="6549"/>
      <pc:docMkLst>
        <pc:docMk/>
      </pc:docMkLst>
      <pc:sldChg chg="modSp mod">
        <pc:chgData name="Iselin Ekeli Rønningsbakk" userId="187300ae-9cb6-416d-8a94-664ca977a24d" providerId="ADAL" clId="{DE44C537-DB6F-4243-9C35-4B6CAECAAEF1}" dt="2024-07-01T12:36:51.606" v="247" actId="6549"/>
        <pc:sldMkLst>
          <pc:docMk/>
          <pc:sldMk cId="4275014000" sldId="270"/>
        </pc:sldMkLst>
      </pc:sldChg>
    </pc:docChg>
  </pc:docChgLst>
  <pc:docChgLst>
    <pc:chgData name="Iselin Ekeli Rønningsbakk" userId="187300ae-9cb6-416d-8a94-664ca977a24d" providerId="ADAL" clId="{F1D83740-C90A-443B-A813-B62DF0466D34}"/>
    <pc:docChg chg="">
      <pc:chgData name="Iselin Ekeli Rønningsbakk" userId="187300ae-9cb6-416d-8a94-664ca977a24d" providerId="ADAL" clId="{F1D83740-C90A-443B-A813-B62DF0466D34}" dt="2024-04-10T11:40:34.581" v="0"/>
      <pc:docMkLst>
        <pc:docMk/>
      </pc:docMkLst>
    </pc:docChg>
  </pc:docChgLst>
  <pc:docChgLst>
    <pc:chgData name="Iselin Ekeli Rønningsbakk" userId="187300ae-9cb6-416d-8a94-664ca977a24d" providerId="ADAL" clId="{834872DE-AAEA-4AA0-9B80-9403F60B732C}"/>
    <pc:docChg chg="custSel addSld delSld modSld">
      <pc:chgData name="Iselin Ekeli Rønningsbakk" userId="187300ae-9cb6-416d-8a94-664ca977a24d" providerId="ADAL" clId="{834872DE-AAEA-4AA0-9B80-9403F60B732C}" dt="2025-03-04T13:34:07.941" v="10" actId="14100"/>
      <pc:docMkLst>
        <pc:docMk/>
      </pc:docMkLst>
      <pc:sldChg chg="add del">
        <pc:chgData name="Iselin Ekeli Rønningsbakk" userId="187300ae-9cb6-416d-8a94-664ca977a24d" providerId="ADAL" clId="{834872DE-AAEA-4AA0-9B80-9403F60B732C}" dt="2025-03-04T13:01:05.642" v="2"/>
        <pc:sldMkLst>
          <pc:docMk/>
          <pc:sldMk cId="1380827816" sldId="262"/>
        </pc:sldMkLst>
      </pc:sldChg>
    </pc:docChg>
  </pc:docChgLst>
  <pc:docChgLst>
    <pc:chgData name="Lars Tennbakk Bockman" userId="5a235df0-e381-4c4c-99ce-24b4b21fb9d1" providerId="ADAL" clId="{4DEB8D85-AF20-4D2D-BADC-997CA91D8BCE}"/>
    <pc:docChg chg="modSld">
      <pc:chgData name="Lars Tennbakk Bockman" userId="5a235df0-e381-4c4c-99ce-24b4b21fb9d1" providerId="ADAL" clId="{4DEB8D85-AF20-4D2D-BADC-997CA91D8BCE}" dt="2024-09-12T11:24:09.756" v="69" actId="20577"/>
      <pc:docMkLst>
        <pc:docMk/>
      </pc:docMkLst>
    </pc:docChg>
  </pc:docChgLst>
  <pc:docChgLst>
    <pc:chgData name="Lars Tennbakk Bockman" userId="5a235df0-e381-4c4c-99ce-24b4b21fb9d1" providerId="ADAL" clId="{AAC28722-CAC1-4A92-BD45-FDE32BB7A4C9}"/>
    <pc:docChg chg="modSld">
      <pc:chgData name="Lars Tennbakk Bockman" userId="5a235df0-e381-4c4c-99ce-24b4b21fb9d1" providerId="ADAL" clId="{AAC28722-CAC1-4A92-BD45-FDE32BB7A4C9}" dt="2024-08-06T12:28:57.093" v="5" actId="20577"/>
      <pc:docMkLst>
        <pc:docMk/>
      </pc:docMkLst>
    </pc:docChg>
  </pc:docChgLst>
  <pc:docChgLst>
    <pc:chgData name="Iselin Ekeli Rønningsbakk" userId="187300ae-9cb6-416d-8a94-664ca977a24d" providerId="ADAL" clId="{B4E5B0F8-0B27-4C7F-AC1B-93663567327F}"/>
    <pc:docChg chg="modSld">
      <pc:chgData name="Iselin Ekeli Rønningsbakk" userId="187300ae-9cb6-416d-8a94-664ca977a24d" providerId="ADAL" clId="{B4E5B0F8-0B27-4C7F-AC1B-93663567327F}" dt="2024-04-12T09:21:55.420" v="1301"/>
      <pc:docMkLst>
        <pc:docMk/>
      </pc:docMkLst>
    </pc:docChg>
  </pc:docChgLst>
  <pc:docChgLst>
    <pc:chgData name="Iselin Ekeli Rønningsbakk" userId="187300ae-9cb6-416d-8a94-664ca977a24d" providerId="ADAL" clId="{FC2C66DF-9F43-42D1-8AD8-73BE9361540A}"/>
    <pc:docChg chg="custSel modSld">
      <pc:chgData name="Iselin Ekeli Rønningsbakk" userId="187300ae-9cb6-416d-8a94-664ca977a24d" providerId="ADAL" clId="{FC2C66DF-9F43-42D1-8AD8-73BE9361540A}" dt="2025-02-07T14:26:47.593" v="4743" actId="6549"/>
      <pc:docMkLst>
        <pc:docMk/>
      </pc:docMkLst>
    </pc:docChg>
  </pc:docChgLst>
  <pc:docChgLst>
    <pc:chgData name="Lars Tennbakk Bockman" userId="5a235df0-e381-4c4c-99ce-24b4b21fb9d1" providerId="ADAL" clId="{F5B85507-1A4C-4B3D-84EF-F1825E13FB00}"/>
    <pc:docChg chg="undo custSel modSld">
      <pc:chgData name="Lars Tennbakk Bockman" userId="5a235df0-e381-4c4c-99ce-24b4b21fb9d1" providerId="ADAL" clId="{F5B85507-1A4C-4B3D-84EF-F1825E13FB00}" dt="2024-08-02T10:53:35.473" v="6180" actId="20577"/>
      <pc:docMkLst>
        <pc:docMk/>
      </pc:docMkLst>
      <pc:sldChg chg="modSp mod">
        <pc:chgData name="Lars Tennbakk Bockman" userId="5a235df0-e381-4c4c-99ce-24b4b21fb9d1" providerId="ADAL" clId="{F5B85507-1A4C-4B3D-84EF-F1825E13FB00}" dt="2024-08-02T10:53:11.563" v="6163" actId="20577"/>
        <pc:sldMkLst>
          <pc:docMk/>
          <pc:sldMk cId="4148148830" sldId="259"/>
        </pc:sldMkLst>
      </pc:sldChg>
      <pc:sldChg chg="addSp delSp modSp mod delCm">
        <pc:chgData name="Lars Tennbakk Bockman" userId="5a235df0-e381-4c4c-99ce-24b4b21fb9d1" providerId="ADAL" clId="{F5B85507-1A4C-4B3D-84EF-F1825E13FB00}" dt="2024-08-02T10:52:40.388" v="6148" actId="20577"/>
        <pc:sldMkLst>
          <pc:docMk/>
          <pc:sldMk cId="3809428704" sldId="26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Lars Tennbakk Bockman" userId="5a235df0-e381-4c4c-99ce-24b4b21fb9d1" providerId="ADAL" clId="{F5B85507-1A4C-4B3D-84EF-F1825E13FB00}" dt="2024-08-02T10:22:15.492" v="3868"/>
              <pc2:cmMkLst xmlns:pc2="http://schemas.microsoft.com/office/powerpoint/2019/9/main/command">
                <pc:docMk/>
                <pc:sldMk cId="3809428704" sldId="268"/>
                <pc2:cmMk id="{3C57D9D5-FC1D-42BD-8928-94460D7BED35}"/>
              </pc2:cmMkLst>
            </pc226:cmChg>
          </p:ext>
        </pc:extLst>
      </pc:sldChg>
      <pc:sldChg chg="modSp mod">
        <pc:chgData name="Lars Tennbakk Bockman" userId="5a235df0-e381-4c4c-99ce-24b4b21fb9d1" providerId="ADAL" clId="{F5B85507-1A4C-4B3D-84EF-F1825E13FB00}" dt="2024-08-02T10:53:35.473" v="6180" actId="20577"/>
        <pc:sldMkLst>
          <pc:docMk/>
          <pc:sldMk cId="2053668892" sldId="273"/>
        </pc:sldMkLst>
      </pc:sldChg>
      <pc:sldChg chg="modSp">
        <pc:chgData name="Lars Tennbakk Bockman" userId="5a235df0-e381-4c4c-99ce-24b4b21fb9d1" providerId="ADAL" clId="{F5B85507-1A4C-4B3D-84EF-F1825E13FB00}" dt="2024-08-02T10:47:29.208" v="5492" actId="14826"/>
        <pc:sldMkLst>
          <pc:docMk/>
          <pc:sldMk cId="3048309862" sldId="277"/>
        </pc:sldMkLst>
      </pc:sldChg>
    </pc:docChg>
  </pc:docChgLst>
  <pc:docChgLst>
    <pc:chgData name="Lars Tennbakk Bockman" userId="S::lars.bockman@fornybarnorge.no::5a235df0-e381-4c4c-99ce-24b4b21fb9d1" providerId="AD" clId="Web-{BAE85A8C-C2C4-873F-9DA4-6AB4D439F0C5}"/>
    <pc:docChg chg="addSld delSld modSld">
      <pc:chgData name="Lars Tennbakk Bockman" userId="S::lars.bockman@fornybarnorge.no::5a235df0-e381-4c4c-99ce-24b4b21fb9d1" providerId="AD" clId="Web-{BAE85A8C-C2C4-873F-9DA4-6AB4D439F0C5}" dt="2024-05-24T14:10:58.800" v="49"/>
      <pc:docMkLst>
        <pc:docMk/>
      </pc:docMkLst>
      <pc:sldChg chg="modSp add del replId">
        <pc:chgData name="Lars Tennbakk Bockman" userId="S::lars.bockman@fornybarnorge.no::5a235df0-e381-4c4c-99ce-24b4b21fb9d1" providerId="AD" clId="Web-{BAE85A8C-C2C4-873F-9DA4-6AB4D439F0C5}" dt="2024-05-24T14:06:18.931" v="13"/>
        <pc:sldMkLst>
          <pc:docMk/>
          <pc:sldMk cId="120293974" sldId="276"/>
        </pc:sldMkLst>
      </pc:sldChg>
      <pc:sldChg chg="addSp delSp modSp add replId">
        <pc:chgData name="Lars Tennbakk Bockman" userId="S::lars.bockman@fornybarnorge.no::5a235df0-e381-4c4c-99ce-24b4b21fb9d1" providerId="AD" clId="Web-{BAE85A8C-C2C4-873F-9DA4-6AB4D439F0C5}" dt="2024-05-24T14:10:58.800" v="49"/>
        <pc:sldMkLst>
          <pc:docMk/>
          <pc:sldMk cId="4123918659" sldId="276"/>
        </pc:sldMkLst>
      </pc:sldChg>
    </pc:docChg>
  </pc:docChgLst>
  <pc:docChgLst>
    <pc:chgData name="Lars Tennbakk Bockman" userId="5a235df0-e381-4c4c-99ce-24b4b21fb9d1" providerId="ADAL" clId="{1E1F32DC-5C67-4F34-AA00-95DE7754AF96}"/>
    <pc:docChg chg="undo custSel modSld">
      <pc:chgData name="Lars Tennbakk Bockman" userId="5a235df0-e381-4c4c-99ce-24b4b21fb9d1" providerId="ADAL" clId="{1E1F32DC-5C67-4F34-AA00-95DE7754AF96}" dt="2025-05-07T11:49:43.438" v="5910" actId="20577"/>
      <pc:docMkLst>
        <pc:docMk/>
      </pc:docMkLst>
      <pc:sldChg chg="modSp mod modCm">
        <pc:chgData name="Lars Tennbakk Bockman" userId="5a235df0-e381-4c4c-99ce-24b4b21fb9d1" providerId="ADAL" clId="{1E1F32DC-5C67-4F34-AA00-95DE7754AF96}" dt="2025-05-07T11:49:43.438" v="5910" actId="20577"/>
        <pc:sldMkLst>
          <pc:docMk/>
          <pc:sldMk cId="3809428704" sldId="268"/>
        </pc:sldMkLst>
        <pc:spChg chg="mod">
          <ac:chgData name="Lars Tennbakk Bockman" userId="5a235df0-e381-4c4c-99ce-24b4b21fb9d1" providerId="ADAL" clId="{1E1F32DC-5C67-4F34-AA00-95DE7754AF96}" dt="2025-05-07T11:49:43.438" v="5910" actId="20577"/>
          <ac:spMkLst>
            <pc:docMk/>
            <pc:sldMk cId="3809428704" sldId="268"/>
            <ac:spMk id="27" creationId="{D4479EF9-3012-3964-A9D0-6C16A3C05105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ars Tennbakk Bockman" userId="5a235df0-e381-4c4c-99ce-24b4b21fb9d1" providerId="ADAL" clId="{1E1F32DC-5C67-4F34-AA00-95DE7754AF96}" dt="2025-05-07T11:49:43.438" v="5910" actId="20577"/>
              <pc2:cmMkLst xmlns:pc2="http://schemas.microsoft.com/office/powerpoint/2019/9/main/command">
                <pc:docMk/>
                <pc:sldMk cId="3809428704" sldId="268"/>
                <pc2:cmMk id="{B7FDC202-E356-40B1-B10D-FB88D7D71CA2}"/>
              </pc2:cmMkLst>
            </pc226:cmChg>
          </p:ext>
        </pc:extLst>
      </pc:sldChg>
      <pc:sldChg chg="modSp mod modCm">
        <pc:chgData name="Lars Tennbakk Bockman" userId="5a235df0-e381-4c4c-99ce-24b4b21fb9d1" providerId="ADAL" clId="{1E1F32DC-5C67-4F34-AA00-95DE7754AF96}" dt="2025-05-07T11:49:18.177" v="5905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1E1F32DC-5C67-4F34-AA00-95DE7754AF96}" dt="2025-05-07T11:49:18.177" v="5905" actId="20577"/>
          <ac:spMkLst>
            <pc:docMk/>
            <pc:sldMk cId="1400664593" sldId="275"/>
            <ac:spMk id="13" creationId="{D3816D81-2F0C-5C31-0215-8B391B6646E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ars Tennbakk Bockman" userId="5a235df0-e381-4c4c-99ce-24b4b21fb9d1" providerId="ADAL" clId="{1E1F32DC-5C67-4F34-AA00-95DE7754AF96}" dt="2025-05-07T11:49:18.177" v="5905" actId="20577"/>
              <pc2:cmMkLst xmlns:pc2="http://schemas.microsoft.com/office/powerpoint/2019/9/main/command">
                <pc:docMk/>
                <pc:sldMk cId="1400664593" sldId="275"/>
                <pc2:cmMk id="{17045140-4C13-4ACF-A51F-10A1AF0CDB6A}"/>
              </pc2:cmMkLst>
            </pc226:cmChg>
          </p:ext>
        </pc:extLst>
      </pc:sldChg>
    </pc:docChg>
  </pc:docChgLst>
  <pc:docChgLst>
    <pc:chgData name="Lars Tennbakk Bockman" userId="S::lars.bockman@fornybarnorge.no::5a235df0-e381-4c4c-99ce-24b4b21fb9d1" providerId="AD" clId="Web-{B4A0480E-A066-69C3-6747-D6200674DE13}"/>
    <pc:docChg chg="modSld">
      <pc:chgData name="Lars Tennbakk Bockman" userId="S::lars.bockman@fornybarnorge.no::5a235df0-e381-4c4c-99ce-24b4b21fb9d1" providerId="AD" clId="Web-{B4A0480E-A066-69C3-6747-D6200674DE13}" dt="2025-05-07T10:52:34.311" v="22" actId="20577"/>
      <pc:docMkLst>
        <pc:docMk/>
      </pc:docMkLst>
      <pc:sldChg chg="modSp modCm">
        <pc:chgData name="Lars Tennbakk Bockman" userId="S::lars.bockman@fornybarnorge.no::5a235df0-e381-4c4c-99ce-24b4b21fb9d1" providerId="AD" clId="Web-{B4A0480E-A066-69C3-6747-D6200674DE13}" dt="2025-05-07T10:52:34.311" v="22" actId="20577"/>
        <pc:sldMkLst>
          <pc:docMk/>
          <pc:sldMk cId="3149972175" sldId="261"/>
        </pc:sldMkLst>
        <pc:spChg chg="mod">
          <ac:chgData name="Lars Tennbakk Bockman" userId="S::lars.bockman@fornybarnorge.no::5a235df0-e381-4c4c-99ce-24b4b21fb9d1" providerId="AD" clId="Web-{B4A0480E-A066-69C3-6747-D6200674DE13}" dt="2025-05-07T10:52:34.311" v="22" actId="20577"/>
          <ac:spMkLst>
            <pc:docMk/>
            <pc:sldMk cId="3149972175" sldId="261"/>
            <ac:spMk id="15" creationId="{71CD328A-FCBF-98DB-A3A2-36A13A7E998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ars Tennbakk Bockman" userId="S::lars.bockman@fornybarnorge.no::5a235df0-e381-4c4c-99ce-24b4b21fb9d1" providerId="AD" clId="Web-{B4A0480E-A066-69C3-6747-D6200674DE13}" dt="2025-05-07T10:52:32.796" v="21" actId="20577"/>
              <pc2:cmMkLst xmlns:pc2="http://schemas.microsoft.com/office/powerpoint/2019/9/main/command">
                <pc:docMk/>
                <pc:sldMk cId="3149972175" sldId="261"/>
                <pc2:cmMk id="{F5CDEB83-365A-4061-A96F-1ACB6904BF01}"/>
              </pc2:cmMkLst>
            </pc226:cmChg>
          </p:ext>
        </pc:extLst>
      </pc:sldChg>
    </pc:docChg>
  </pc:docChgLst>
  <pc:docChgLst>
    <pc:chgData name="Iselin Ekeli Rønningsbakk" userId="187300ae-9cb6-416d-8a94-664ca977a24d" providerId="ADAL" clId="{0DF6054F-01A5-4628-8EFC-6C2F0860B282}"/>
    <pc:docChg chg="custSel addSld delSld modSld">
      <pc:chgData name="Iselin Ekeli Rønningsbakk" userId="187300ae-9cb6-416d-8a94-664ca977a24d" providerId="ADAL" clId="{0DF6054F-01A5-4628-8EFC-6C2F0860B282}" dt="2024-11-06T11:42:38.762" v="2113" actId="6549"/>
      <pc:docMkLst>
        <pc:docMk/>
      </pc:docMkLst>
      <pc:sldChg chg="add del setBg">
        <pc:chgData name="Iselin Ekeli Rønningsbakk" userId="187300ae-9cb6-416d-8a94-664ca977a24d" providerId="ADAL" clId="{0DF6054F-01A5-4628-8EFC-6C2F0860B282}" dt="2024-11-05T12:13:54.129" v="21"/>
        <pc:sldMkLst>
          <pc:docMk/>
          <pc:sldMk cId="1380827816" sldId="262"/>
        </pc:sldMkLst>
      </pc:sldChg>
    </pc:docChg>
  </pc:docChgLst>
  <pc:docChgLst>
    <pc:chgData name="Lars Tennbakk Bockman" userId="S::lars.bockman@fornybarnorge.no::5a235df0-e381-4c4c-99ce-24b4b21fb9d1" providerId="AD" clId="Web-{5276EAF6-521B-72E1-7647-18914D53792E}"/>
    <pc:docChg chg="modSld">
      <pc:chgData name="Lars Tennbakk Bockman" userId="S::lars.bockman@fornybarnorge.no::5a235df0-e381-4c4c-99ce-24b4b21fb9d1" providerId="AD" clId="Web-{5276EAF6-521B-72E1-7647-18914D53792E}" dt="2025-02-10T10:22:43.732" v="21"/>
      <pc:docMkLst>
        <pc:docMk/>
      </pc:docMkLst>
    </pc:docChg>
  </pc:docChgLst>
  <pc:docChgLst>
    <pc:chgData name="Iselin Ekeli Rønningsbakk" userId="187300ae-9cb6-416d-8a94-664ca977a24d" providerId="ADAL" clId="{05C25B39-15F9-47C4-AD71-0AD5EAAC2147}"/>
    <pc:docChg chg="modSld">
      <pc:chgData name="Iselin Ekeli Rønningsbakk" userId="187300ae-9cb6-416d-8a94-664ca977a24d" providerId="ADAL" clId="{05C25B39-15F9-47C4-AD71-0AD5EAAC2147}" dt="2025-03-11T08:14:15.558" v="722" actId="1076"/>
      <pc:docMkLst>
        <pc:docMk/>
      </pc:docMkLst>
    </pc:docChg>
  </pc:docChgLst>
  <pc:docChgLst>
    <pc:chgData name="Lars Tennbakk Bockman" userId="S::lars.bockman@fornybarnorge.no::5a235df0-e381-4c4c-99ce-24b4b21fb9d1" providerId="AD" clId="Web-{6A2BD51F-F03C-92F3-41DE-FF0876E0A761}"/>
    <pc:docChg chg="modSld">
      <pc:chgData name="Lars Tennbakk Bockman" userId="S::lars.bockman@fornybarnorge.no::5a235df0-e381-4c4c-99ce-24b4b21fb9d1" providerId="AD" clId="Web-{6A2BD51F-F03C-92F3-41DE-FF0876E0A761}" dt="2024-06-05T13:56:33.387" v="45" actId="20577"/>
      <pc:docMkLst>
        <pc:docMk/>
      </pc:docMkLst>
    </pc:docChg>
  </pc:docChgLst>
  <pc:docChgLst>
    <pc:chgData name="Iselin Ekeli Rønningsbakk" userId="187300ae-9cb6-416d-8a94-664ca977a24d" providerId="ADAL" clId="{0332ED72-990B-4A68-852A-92A874BC34B2}"/>
    <pc:docChg chg="custSel modSld">
      <pc:chgData name="Iselin Ekeli Rønningsbakk" userId="187300ae-9cb6-416d-8a94-664ca977a24d" providerId="ADAL" clId="{0332ED72-990B-4A68-852A-92A874BC34B2}" dt="2025-01-10T21:39:41.277" v="5" actId="14100"/>
      <pc:docMkLst>
        <pc:docMk/>
      </pc:docMkLst>
    </pc:docChg>
  </pc:docChgLst>
  <pc:docChgLst>
    <pc:chgData name="Lars Tennbakk Bockman" userId="5a235df0-e381-4c4c-99ce-24b4b21fb9d1" providerId="ADAL" clId="{C5A5C764-A305-4B0D-9BEA-1C872162588B}"/>
    <pc:docChg chg="custSel addSld delSld modSld sldOrd">
      <pc:chgData name="Lars Tennbakk Bockman" userId="5a235df0-e381-4c4c-99ce-24b4b21fb9d1" providerId="ADAL" clId="{C5A5C764-A305-4B0D-9BEA-1C872162588B}" dt="2024-06-25T13:17:52.641" v="2007" actId="20577"/>
      <pc:docMkLst>
        <pc:docMk/>
      </pc:docMkLst>
      <pc:sldChg chg="add del ord setBg">
        <pc:chgData name="Lars Tennbakk Bockman" userId="5a235df0-e381-4c4c-99ce-24b4b21fb9d1" providerId="ADAL" clId="{C5A5C764-A305-4B0D-9BEA-1C872162588B}" dt="2024-06-25T13:09:29.698" v="1631" actId="47"/>
        <pc:sldMkLst>
          <pc:docMk/>
          <pc:sldMk cId="1834315246" sldId="278"/>
        </pc:sldMkLst>
      </pc:sldChg>
      <pc:sldChg chg="modSp add mod ord">
        <pc:chgData name="Lars Tennbakk Bockman" userId="5a235df0-e381-4c4c-99ce-24b4b21fb9d1" providerId="ADAL" clId="{C5A5C764-A305-4B0D-9BEA-1C872162588B}" dt="2024-06-25T13:17:52.641" v="2007" actId="20577"/>
        <pc:sldMkLst>
          <pc:docMk/>
          <pc:sldMk cId="4100358197" sldId="278"/>
        </pc:sldMkLst>
      </pc:sldChg>
    </pc:docChg>
  </pc:docChgLst>
  <pc:docChgLst>
    <pc:chgData name="Lars Tennbakk Bockman" userId="S::lars.bockman@fornybarnorge.no::5a235df0-e381-4c4c-99ce-24b4b21fb9d1" providerId="AD" clId="Web-{1A8F27FA-4149-B5EE-0076-986A53F64FF3}"/>
    <pc:docChg chg="modSld">
      <pc:chgData name="Lars Tennbakk Bockman" userId="S::lars.bockman@fornybarnorge.no::5a235df0-e381-4c4c-99ce-24b4b21fb9d1" providerId="AD" clId="Web-{1A8F27FA-4149-B5EE-0076-986A53F64FF3}" dt="2024-11-05T16:04:53.866" v="171" actId="20577"/>
      <pc:docMkLst>
        <pc:docMk/>
      </pc:docMkLst>
    </pc:docChg>
  </pc:docChgLst>
  <pc:docChgLst>
    <pc:chgData name="Lars Tennbakk Bockman" userId="S::lars.bockman@fornybarnorge.no::5a235df0-e381-4c4c-99ce-24b4b21fb9d1" providerId="AD" clId="Web-{49FDBC75-4CCE-CB32-F36A-1DA4126E09D9}"/>
    <pc:docChg chg="modSld">
      <pc:chgData name="Lars Tennbakk Bockman" userId="S::lars.bockman@fornybarnorge.no::5a235df0-e381-4c4c-99ce-24b4b21fb9d1" providerId="AD" clId="Web-{49FDBC75-4CCE-CB32-F36A-1DA4126E09D9}" dt="2024-04-03T08:36:42.371" v="1" actId="20577"/>
      <pc:docMkLst>
        <pc:docMk/>
      </pc:docMkLst>
    </pc:docChg>
  </pc:docChgLst>
  <pc:docChgLst>
    <pc:chgData name="Iselin Ekeli Rønningsbakk" userId="187300ae-9cb6-416d-8a94-664ca977a24d" providerId="ADAL" clId="{EE21E6D1-581B-48DE-BEF9-DE59C28260FD}"/>
    <pc:docChg chg="">
      <pc:chgData name="Iselin Ekeli Rønningsbakk" userId="187300ae-9cb6-416d-8a94-664ca977a24d" providerId="ADAL" clId="{EE21E6D1-581B-48DE-BEF9-DE59C28260FD}" dt="2024-05-16T07:00:05.547" v="0"/>
      <pc:docMkLst>
        <pc:docMk/>
      </pc:docMkLst>
    </pc:docChg>
  </pc:docChgLst>
  <pc:docChgLst>
    <pc:chgData name="Iselin Ekeli Rønningsbakk" userId="187300ae-9cb6-416d-8a94-664ca977a24d" providerId="ADAL" clId="{9E96281E-3613-42EF-8445-999769200C6F}"/>
    <pc:docChg chg="undo custSel addSld delSld">
      <pc:chgData name="Iselin Ekeli Rønningsbakk" userId="187300ae-9cb6-416d-8a94-664ca977a24d" providerId="ADAL" clId="{9E96281E-3613-42EF-8445-999769200C6F}" dt="2025-04-07T12:47:31.026" v="1" actId="47"/>
      <pc:docMkLst>
        <pc:docMk/>
      </pc:docMkLst>
    </pc:docChg>
  </pc:docChgLst>
  <pc:docChgLst>
    <pc:chgData name="Iselin Ekeli Rønningsbakk" userId="187300ae-9cb6-416d-8a94-664ca977a24d" providerId="ADAL" clId="{BE415681-EBBA-409D-AB3C-C601BB43A582}"/>
    <pc:docChg chg="custSel addSld delSld modSld">
      <pc:chgData name="Iselin Ekeli Rønningsbakk" userId="187300ae-9cb6-416d-8a94-664ca977a24d" providerId="ADAL" clId="{BE415681-EBBA-409D-AB3C-C601BB43A582}" dt="2024-11-07T12:23:49.724" v="1337" actId="1076"/>
      <pc:docMkLst>
        <pc:docMk/>
      </pc:docMkLst>
      <pc:sldChg chg="add del setBg">
        <pc:chgData name="Iselin Ekeli Rønningsbakk" userId="187300ae-9cb6-416d-8a94-664ca977a24d" providerId="ADAL" clId="{BE415681-EBBA-409D-AB3C-C601BB43A582}" dt="2024-11-07T12:23:15.848" v="1329"/>
        <pc:sldMkLst>
          <pc:docMk/>
          <pc:sldMk cId="1380827816" sldId="262"/>
        </pc:sldMkLst>
      </pc:sldChg>
    </pc:docChg>
  </pc:docChgLst>
  <pc:docChgLst>
    <pc:chgData name="Lars Tennbakk Bockman" userId="S::lars.bockman@fornybarnorge.no::5a235df0-e381-4c4c-99ce-24b4b21fb9d1" providerId="AD" clId="Web-{F9C7C0CC-46DD-594A-BC45-E12A346A37D9}"/>
    <pc:docChg chg="modSld">
      <pc:chgData name="Lars Tennbakk Bockman" userId="S::lars.bockman@fornybarnorge.no::5a235df0-e381-4c4c-99ce-24b4b21fb9d1" providerId="AD" clId="Web-{F9C7C0CC-46DD-594A-BC45-E12A346A37D9}" dt="2024-09-11T08:27:05.964" v="9" actId="20577"/>
      <pc:docMkLst>
        <pc:docMk/>
      </pc:docMkLst>
    </pc:docChg>
  </pc:docChgLst>
  <pc:docChgLst>
    <pc:chgData name="Iselin Ekeli Rønningsbakk" userId="187300ae-9cb6-416d-8a94-664ca977a24d" providerId="ADAL" clId="{EC2B28E4-0D5D-4211-A564-07AF674CA140}"/>
    <pc:docChg chg="custSel modSld">
      <pc:chgData name="Iselin Ekeli Rønningsbakk" userId="187300ae-9cb6-416d-8a94-664ca977a24d" providerId="ADAL" clId="{EC2B28E4-0D5D-4211-A564-07AF674CA140}" dt="2025-05-07T13:32:28.159" v="5011" actId="6549"/>
      <pc:docMkLst>
        <pc:docMk/>
      </pc:docMkLst>
      <pc:sldChg chg="modSp mod modCm">
        <pc:chgData name="Iselin Ekeli Rønningsbakk" userId="187300ae-9cb6-416d-8a94-664ca977a24d" providerId="ADAL" clId="{EC2B28E4-0D5D-4211-A564-07AF674CA140}" dt="2025-05-07T13:32:28.159" v="5011" actId="6549"/>
        <pc:sldMkLst>
          <pc:docMk/>
          <pc:sldMk cId="3149972175" sldId="261"/>
        </pc:sldMkLst>
        <pc:spChg chg="mod">
          <ac:chgData name="Iselin Ekeli Rønningsbakk" userId="187300ae-9cb6-416d-8a94-664ca977a24d" providerId="ADAL" clId="{EC2B28E4-0D5D-4211-A564-07AF674CA140}" dt="2025-05-07T13:32:28.159" v="5011" actId="6549"/>
          <ac:spMkLst>
            <pc:docMk/>
            <pc:sldMk cId="3149972175" sldId="261"/>
            <ac:spMk id="15" creationId="{71CD328A-FCBF-98DB-A3A2-36A13A7E998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Iselin Ekeli Rønningsbakk" userId="187300ae-9cb6-416d-8a94-664ca977a24d" providerId="ADAL" clId="{EC2B28E4-0D5D-4211-A564-07AF674CA140}" dt="2025-05-07T11:08:27.030" v="2673" actId="20577"/>
              <pc2:cmMkLst xmlns:pc2="http://schemas.microsoft.com/office/powerpoint/2019/9/main/command">
                <pc:docMk/>
                <pc:sldMk cId="3149972175" sldId="261"/>
                <pc2:cmMk id="{99944459-69F1-4AAF-8CFC-65A94408A0A3}"/>
              </pc2:cmMkLst>
            </pc226:cmChg>
            <pc226:cmChg xmlns:pc226="http://schemas.microsoft.com/office/powerpoint/2022/06/main/command" chg="mod">
              <pc226:chgData name="Iselin Ekeli Rønningsbakk" userId="187300ae-9cb6-416d-8a94-664ca977a24d" providerId="ADAL" clId="{EC2B28E4-0D5D-4211-A564-07AF674CA140}" dt="2025-05-07T10:59:48.654" v="1738" actId="6549"/>
              <pc2:cmMkLst xmlns:pc2="http://schemas.microsoft.com/office/powerpoint/2019/9/main/command">
                <pc:docMk/>
                <pc:sldMk cId="3149972175" sldId="261"/>
                <pc2:cmMk id="{F5CDEB83-365A-4061-A96F-1ACB6904BF01}"/>
              </pc2:cmMkLst>
            </pc226:cmChg>
            <pc226:cmChg xmlns:pc226="http://schemas.microsoft.com/office/powerpoint/2022/06/main/command" chg="mod">
              <pc226:chgData name="Iselin Ekeli Rønningsbakk" userId="187300ae-9cb6-416d-8a94-664ca977a24d" providerId="ADAL" clId="{EC2B28E4-0D5D-4211-A564-07AF674CA140}" dt="2025-05-07T10:39:28.879" v="875" actId="20577"/>
              <pc2:cmMkLst xmlns:pc2="http://schemas.microsoft.com/office/powerpoint/2019/9/main/command">
                <pc:docMk/>
                <pc:sldMk cId="3149972175" sldId="261"/>
                <pc2:cmMk id="{1E014AEB-2E7B-459D-95E9-1B6817B2761F}"/>
              </pc2:cmMkLst>
            </pc226:cmChg>
          </p:ext>
        </pc:extLst>
      </pc:sldChg>
      <pc:sldChg chg="modSp mod">
        <pc:chgData name="Iselin Ekeli Rønningsbakk" userId="187300ae-9cb6-416d-8a94-664ca977a24d" providerId="ADAL" clId="{EC2B28E4-0D5D-4211-A564-07AF674CA140}" dt="2025-05-07T11:44:07.777" v="4984" actId="255"/>
        <pc:sldMkLst>
          <pc:docMk/>
          <pc:sldMk cId="3809428704" sldId="268"/>
        </pc:sldMkLst>
        <pc:spChg chg="mod">
          <ac:chgData name="Iselin Ekeli Rønningsbakk" userId="187300ae-9cb6-416d-8a94-664ca977a24d" providerId="ADAL" clId="{EC2B28E4-0D5D-4211-A564-07AF674CA140}" dt="2025-05-07T11:44:07.777" v="4984" actId="255"/>
          <ac:spMkLst>
            <pc:docMk/>
            <pc:sldMk cId="3809428704" sldId="268"/>
            <ac:spMk id="2" creationId="{E225F7EA-99E6-543D-3D1D-6EACC2C8D6E1}"/>
          </ac:spMkLst>
        </pc:spChg>
        <pc:spChg chg="mod">
          <ac:chgData name="Iselin Ekeli Rønningsbakk" userId="187300ae-9cb6-416d-8a94-664ca977a24d" providerId="ADAL" clId="{EC2B28E4-0D5D-4211-A564-07AF674CA140}" dt="2025-05-07T11:38:51.048" v="4654" actId="20577"/>
          <ac:spMkLst>
            <pc:docMk/>
            <pc:sldMk cId="3809428704" sldId="268"/>
            <ac:spMk id="3" creationId="{8A3EFEB1-D7F7-A46E-7DED-AE462CEAB1A0}"/>
          </ac:spMkLst>
        </pc:spChg>
      </pc:sldChg>
      <pc:sldChg chg="modSp mod">
        <pc:chgData name="Iselin Ekeli Rønningsbakk" userId="187300ae-9cb6-416d-8a94-664ca977a24d" providerId="ADAL" clId="{EC2B28E4-0D5D-4211-A564-07AF674CA140}" dt="2025-05-07T11:16:37.992" v="3455" actId="6549"/>
        <pc:sldMkLst>
          <pc:docMk/>
          <pc:sldMk cId="964345901" sldId="269"/>
        </pc:sldMkLst>
        <pc:spChg chg="mod">
          <ac:chgData name="Iselin Ekeli Rønningsbakk" userId="187300ae-9cb6-416d-8a94-664ca977a24d" providerId="ADAL" clId="{EC2B28E4-0D5D-4211-A564-07AF674CA140}" dt="2025-05-07T11:16:37.992" v="3455" actId="6549"/>
          <ac:spMkLst>
            <pc:docMk/>
            <pc:sldMk cId="964345901" sldId="269"/>
            <ac:spMk id="15" creationId="{04DCDA78-71F1-811A-A7B3-AF6C80100E58}"/>
          </ac:spMkLst>
        </pc:spChg>
      </pc:sldChg>
      <pc:sldChg chg="modSp mod">
        <pc:chgData name="Iselin Ekeli Rønningsbakk" userId="187300ae-9cb6-416d-8a94-664ca977a24d" providerId="ADAL" clId="{EC2B28E4-0D5D-4211-A564-07AF674CA140}" dt="2025-05-07T11:34:03.418" v="4634" actId="20577"/>
        <pc:sldMkLst>
          <pc:docMk/>
          <pc:sldMk cId="4275014000" sldId="270"/>
        </pc:sldMkLst>
        <pc:spChg chg="mod">
          <ac:chgData name="Iselin Ekeli Rønningsbakk" userId="187300ae-9cb6-416d-8a94-664ca977a24d" providerId="ADAL" clId="{EC2B28E4-0D5D-4211-A564-07AF674CA140}" dt="2025-05-07T11:34:03.418" v="4634" actId="20577"/>
          <ac:spMkLst>
            <pc:docMk/>
            <pc:sldMk cId="4275014000" sldId="270"/>
            <ac:spMk id="14" creationId="{21531C8D-908F-3C5D-76AA-208A0DF8D559}"/>
          </ac:spMkLst>
        </pc:spChg>
      </pc:sldChg>
      <pc:sldChg chg="modSp mod modCm">
        <pc:chgData name="Iselin Ekeli Rønningsbakk" userId="187300ae-9cb6-416d-8a94-664ca977a24d" providerId="ADAL" clId="{EC2B28E4-0D5D-4211-A564-07AF674CA140}" dt="2025-05-07T11:35:00.641" v="4642" actId="6549"/>
        <pc:sldMkLst>
          <pc:docMk/>
          <pc:sldMk cId="1400664593" sldId="275"/>
        </pc:sldMkLst>
        <pc:spChg chg="mod">
          <ac:chgData name="Iselin Ekeli Rønningsbakk" userId="187300ae-9cb6-416d-8a94-664ca977a24d" providerId="ADAL" clId="{EC2B28E4-0D5D-4211-A564-07AF674CA140}" dt="2025-05-07T11:35:00.641" v="4642" actId="6549"/>
          <ac:spMkLst>
            <pc:docMk/>
            <pc:sldMk cId="1400664593" sldId="275"/>
            <ac:spMk id="13" creationId="{D3816D81-2F0C-5C31-0215-8B391B6646E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Iselin Ekeli Rønningsbakk" userId="187300ae-9cb6-416d-8a94-664ca977a24d" providerId="ADAL" clId="{EC2B28E4-0D5D-4211-A564-07AF674CA140}" dt="2025-05-07T11:35:00.641" v="4642" actId="6549"/>
              <pc2:cmMkLst xmlns:pc2="http://schemas.microsoft.com/office/powerpoint/2019/9/main/command">
                <pc:docMk/>
                <pc:sldMk cId="1400664593" sldId="275"/>
                <pc2:cmMk id="{17045140-4C13-4ACF-A51F-10A1AF0CDB6A}"/>
              </pc2:cmMkLst>
            </pc226:cmChg>
          </p:ext>
        </pc:extLst>
      </pc:sldChg>
    </pc:docChg>
  </pc:docChgLst>
  <pc:docChgLst>
    <pc:chgData name="Lars Tennbakk Bockman" userId="5a235df0-e381-4c4c-99ce-24b4b21fb9d1" providerId="ADAL" clId="{A7DE190F-5016-4198-8635-9E60638771CF}"/>
    <pc:docChg chg="modSld">
      <pc:chgData name="Lars Tennbakk Bockman" userId="5a235df0-e381-4c4c-99ce-24b4b21fb9d1" providerId="ADAL" clId="{A7DE190F-5016-4198-8635-9E60638771CF}" dt="2024-11-06T15:19:20.660" v="665" actId="14826"/>
      <pc:docMkLst>
        <pc:docMk/>
      </pc:docMkLst>
    </pc:docChg>
  </pc:docChgLst>
  <pc:docChgLst>
    <pc:chgData name="Ingeborg Aarø" userId="fe5f74f8-3120-49da-a10f-7c51be1254b1" providerId="ADAL" clId="{3E23246F-6FD0-B24D-8CF4-75D0BC8AB8A9}"/>
    <pc:docChg chg="custSel modSld">
      <pc:chgData name="Ingeborg Aarø" userId="fe5f74f8-3120-49da-a10f-7c51be1254b1" providerId="ADAL" clId="{3E23246F-6FD0-B24D-8CF4-75D0BC8AB8A9}" dt="2024-06-05T11:10:17.415" v="7" actId="14100"/>
      <pc:docMkLst>
        <pc:docMk/>
      </pc:docMkLst>
    </pc:docChg>
  </pc:docChgLst>
  <pc:docChgLst>
    <pc:chgData name="Lars Tennbakk Bockman" userId="5a235df0-e381-4c4c-99ce-24b4b21fb9d1" providerId="ADAL" clId="{BEBA20C9-0E5E-4395-BCBC-0549F97599C0}"/>
    <pc:docChg chg="modSld">
      <pc:chgData name="Lars Tennbakk Bockman" userId="5a235df0-e381-4c4c-99ce-24b4b21fb9d1" providerId="ADAL" clId="{BEBA20C9-0E5E-4395-BCBC-0549F97599C0}" dt="2024-05-13T07:45:51.413" v="6"/>
      <pc:docMkLst>
        <pc:docMk/>
      </pc:docMkLst>
    </pc:docChg>
  </pc:docChgLst>
  <pc:docChgLst>
    <pc:chgData name="Iselin Ekeli Rønningsbakk" userId="187300ae-9cb6-416d-8a94-664ca977a24d" providerId="ADAL" clId="{CA485EF5-6DA2-4557-BD62-EC26CEFF2A42}"/>
    <pc:docChg chg="custSel modSld">
      <pc:chgData name="Iselin Ekeli Rønningsbakk" userId="187300ae-9cb6-416d-8a94-664ca977a24d" providerId="ADAL" clId="{CA485EF5-6DA2-4557-BD62-EC26CEFF2A42}" dt="2024-08-06T10:47:07.707" v="1558"/>
      <pc:docMkLst>
        <pc:docMk/>
      </pc:docMkLst>
    </pc:docChg>
  </pc:docChgLst>
  <pc:docChgLst>
    <pc:chgData name="Iselin Ekeli Rønningsbakk" userId="187300ae-9cb6-416d-8a94-664ca977a24d" providerId="ADAL" clId="{E6A057FB-F637-4A2C-97C5-0A61BFA6AE22}"/>
    <pc:docChg chg="undo custSel modSld">
      <pc:chgData name="Iselin Ekeli Rønningsbakk" userId="187300ae-9cb6-416d-8a94-664ca977a24d" providerId="ADAL" clId="{E6A057FB-F637-4A2C-97C5-0A61BFA6AE22}" dt="2025-03-05T13:24:09.649" v="586" actId="20577"/>
      <pc:docMkLst>
        <pc:docMk/>
      </pc:docMkLst>
    </pc:docChg>
  </pc:docChgLst>
  <pc:docChgLst>
    <pc:chgData name="Iselin Ekeli Rønningsbakk" userId="187300ae-9cb6-416d-8a94-664ca977a24d" providerId="ADAL" clId="{616419BA-47B3-418F-AB07-31CDFCDA77EF}"/>
    <pc:docChg chg="custSel modSld">
      <pc:chgData name="Iselin Ekeli Rønningsbakk" userId="187300ae-9cb6-416d-8a94-664ca977a24d" providerId="ADAL" clId="{616419BA-47B3-418F-AB07-31CDFCDA77EF}" dt="2024-08-08T08:55:07.696" v="184" actId="6549"/>
      <pc:docMkLst>
        <pc:docMk/>
      </pc:docMkLst>
    </pc:docChg>
  </pc:docChgLst>
  <pc:docChgLst>
    <pc:chgData name="Iselin Ekeli Rønningsbakk" userId="187300ae-9cb6-416d-8a94-664ca977a24d" providerId="ADAL" clId="{1C090565-8034-4003-8340-2DCEFA9A6173}"/>
    <pc:docChg chg="undo custSel addSld delSld modSld">
      <pc:chgData name="Iselin Ekeli Rønningsbakk" userId="187300ae-9cb6-416d-8a94-664ca977a24d" providerId="ADAL" clId="{1C090565-8034-4003-8340-2DCEFA9A6173}" dt="2024-12-05T13:39:02.361" v="295" actId="14100"/>
      <pc:docMkLst>
        <pc:docMk/>
      </pc:docMkLst>
      <pc:sldChg chg="add del setBg">
        <pc:chgData name="Iselin Ekeli Rønningsbakk" userId="187300ae-9cb6-416d-8a94-664ca977a24d" providerId="ADAL" clId="{1C090565-8034-4003-8340-2DCEFA9A6173}" dt="2024-12-05T13:38:32.723" v="287"/>
        <pc:sldMkLst>
          <pc:docMk/>
          <pc:sldMk cId="1380827816" sldId="262"/>
        </pc:sldMkLst>
      </pc:sldChg>
    </pc:docChg>
  </pc:docChgLst>
  <pc:docChgLst>
    <pc:chgData name="Iselin Ekeli Rønningsbakk" userId="187300ae-9cb6-416d-8a94-664ca977a24d" providerId="ADAL" clId="{004A567D-8204-4070-9423-9BE8B91B43A2}"/>
    <pc:docChg chg="modSld">
      <pc:chgData name="Iselin Ekeli Rønningsbakk" userId="187300ae-9cb6-416d-8a94-664ca977a24d" providerId="ADAL" clId="{004A567D-8204-4070-9423-9BE8B91B43A2}" dt="2025-03-10T11:24:06.346" v="1115" actId="20577"/>
      <pc:docMkLst>
        <pc:docMk/>
      </pc:docMkLst>
    </pc:docChg>
  </pc:docChgLst>
  <pc:docChgLst>
    <pc:chgData name="Lars Tennbakk Bockman" userId="S::lars.bockman@fornybarnorge.no::5a235df0-e381-4c4c-99ce-24b4b21fb9d1" providerId="AD" clId="Web-{EA80F0FD-86BE-F34E-8E62-E82B2CE10331}"/>
    <pc:docChg chg="modSld">
      <pc:chgData name="Lars Tennbakk Bockman" userId="S::lars.bockman@fornybarnorge.no::5a235df0-e381-4c4c-99ce-24b4b21fb9d1" providerId="AD" clId="Web-{EA80F0FD-86BE-F34E-8E62-E82B2CE10331}" dt="2024-04-23T13:08:03.074" v="3" actId="20577"/>
      <pc:docMkLst>
        <pc:docMk/>
      </pc:docMkLst>
    </pc:docChg>
  </pc:docChgLst>
  <pc:docChgLst>
    <pc:chgData name="Lars Bockman" userId="5a235df0-e381-4c4c-99ce-24b4b21fb9d1" providerId="ADAL" clId="{C0B6E7DC-0448-43D1-82B8-227DAF8C55E9}"/>
    <pc:docChg chg="modSld">
      <pc:chgData name="Lars Bockman" userId="5a235df0-e381-4c4c-99ce-24b4b21fb9d1" providerId="ADAL" clId="{C0B6E7DC-0448-43D1-82B8-227DAF8C55E9}" dt="2024-06-10T10:33:27.210" v="38" actId="20577"/>
      <pc:docMkLst>
        <pc:docMk/>
      </pc:docMkLst>
    </pc:docChg>
  </pc:docChgLst>
  <pc:docChgLst>
    <pc:chgData name="Iselin Ekeli Rønningsbakk" userId="187300ae-9cb6-416d-8a94-664ca977a24d" providerId="ADAL" clId="{5F641DE6-CC49-48F8-A0F4-086A1F319900}"/>
    <pc:docChg chg="custSel modSld">
      <pc:chgData name="Iselin Ekeli Rønningsbakk" userId="187300ae-9cb6-416d-8a94-664ca977a24d" providerId="ADAL" clId="{5F641DE6-CC49-48F8-A0F4-086A1F319900}" dt="2025-02-06T14:58:30.538" v="4" actId="14100"/>
      <pc:docMkLst>
        <pc:docMk/>
      </pc:docMkLst>
    </pc:docChg>
  </pc:docChgLst>
  <pc:docChgLst>
    <pc:chgData name="Lars Tennbakk Bockman" userId="5a235df0-e381-4c4c-99ce-24b4b21fb9d1" providerId="ADAL" clId="{27B654D7-7A34-4372-8A30-DAD53E62DCF1}"/>
    <pc:docChg chg="undo custSel modSld">
      <pc:chgData name="Lars Tennbakk Bockman" userId="5a235df0-e381-4c4c-99ce-24b4b21fb9d1" providerId="ADAL" clId="{27B654D7-7A34-4372-8A30-DAD53E62DCF1}" dt="2024-12-03T16:01:24.091" v="4831" actId="20577"/>
      <pc:docMkLst>
        <pc:docMk/>
      </pc:docMkLst>
    </pc:docChg>
  </pc:docChgLst>
  <pc:docChgLst>
    <pc:chgData name="Iselin Ekeli Rønningsbakk" userId="187300ae-9cb6-416d-8a94-664ca977a24d" providerId="ADAL" clId="{DA2E0AB1-A6F8-4A9F-9EEA-EFCF6E13D508}"/>
    <pc:docChg chg="undo custSel modSld">
      <pc:chgData name="Iselin Ekeli Rønningsbakk" userId="187300ae-9cb6-416d-8a94-664ca977a24d" providerId="ADAL" clId="{DA2E0AB1-A6F8-4A9F-9EEA-EFCF6E13D508}" dt="2025-02-10T10:15:35.840" v="1263" actId="20577"/>
      <pc:docMkLst>
        <pc:docMk/>
      </pc:docMkLst>
    </pc:docChg>
  </pc:docChgLst>
  <pc:docChgLst>
    <pc:chgData name="Lars Tennbakk Bockman" userId="S::lars.bockman@fornybarnorge.no::5a235df0-e381-4c4c-99ce-24b4b21fb9d1" providerId="AD" clId="Web-{2254737F-0DB4-F7FF-95C8-94BEF1B6C4FC}"/>
    <pc:docChg chg="modSld">
      <pc:chgData name="Lars Tennbakk Bockman" userId="S::lars.bockman@fornybarnorge.no::5a235df0-e381-4c4c-99ce-24b4b21fb9d1" providerId="AD" clId="Web-{2254737F-0DB4-F7FF-95C8-94BEF1B6C4FC}" dt="2024-12-05T15:06:11.749" v="26"/>
      <pc:docMkLst>
        <pc:docMk/>
      </pc:docMkLst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/>
          <a:lstStyle>
            <a:lvl1pPr algn="l">
              <a:defRPr sz="18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8074962" y="0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/>
          <a:lstStyle>
            <a:lvl1pPr algn="r">
              <a:defRPr sz="1800"/>
            </a:lvl1pPr>
          </a:lstStyle>
          <a:p>
            <a:fld id="{01329E2F-4686-4F18-A9A7-D08BDCF84B80}" type="datetimeFigureOut">
              <a:rPr lang="nb-NO" smtClean="0"/>
              <a:t>07.05.2025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176713" y="1222375"/>
            <a:ext cx="5902325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3795" tIns="66898" rIns="133795" bIns="66898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1425576" y="4703851"/>
            <a:ext cx="11404599" cy="3848607"/>
          </a:xfrm>
          <a:prstGeom prst="rect">
            <a:avLst/>
          </a:prstGeom>
        </p:spPr>
        <p:txBody>
          <a:bodyPr vert="horz" lIns="133795" tIns="66898" rIns="133795" bIns="66898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1" y="9283831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 anchor="b"/>
          <a:lstStyle>
            <a:lvl1pPr algn="l">
              <a:defRPr sz="18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8074962" y="9283831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 anchor="b"/>
          <a:lstStyle>
            <a:lvl1pPr algn="r">
              <a:defRPr sz="1800"/>
            </a:lvl1pPr>
          </a:lstStyle>
          <a:p>
            <a:fld id="{988FB815-4B74-45D9-A47D-33C36308A6D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557526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1pPr>
    <a:lvl2pPr marL="342123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2pPr>
    <a:lvl3pPr marL="684246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3pPr>
    <a:lvl4pPr marL="1026368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4pPr>
    <a:lvl5pPr marL="1368491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5pPr>
    <a:lvl6pPr marL="1710614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6pPr>
    <a:lvl7pPr marL="2052737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7pPr>
    <a:lvl8pPr marL="2394859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8pPr>
    <a:lvl9pPr marL="2736982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8FB815-4B74-45D9-A47D-33C36308A6D8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55432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8FB815-4B74-45D9-A47D-33C36308A6D8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33705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93A1E326-C424-77C0-6978-2ECBD0AFF397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044874A-FADC-7682-CE1B-D61B44B0B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15CFC04B-ED1B-B55D-9BD9-0AD91F8A24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7235" b="36013"/>
          <a:stretch/>
        </p:blipFill>
        <p:spPr>
          <a:xfrm>
            <a:off x="736688" y="1"/>
            <a:ext cx="8337600" cy="511175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89EBC06-125D-02E3-7D7F-05ADCD9166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2039874"/>
            <a:ext cx="6495086" cy="498598"/>
          </a:xfrm>
        </p:spPr>
        <p:txBody>
          <a:bodyPr wrap="square" lIns="0" tIns="0" rIns="0" bIns="0" anchor="t">
            <a:spAutoFit/>
          </a:bodyPr>
          <a:lstStyle>
            <a:lvl1pPr algn="l">
              <a:defRPr sz="3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8A9128B6-D639-84D6-CE51-229DD113EC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713880"/>
            <a:ext cx="6495086" cy="193899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0681BD6-E2BE-C975-4AF7-B057CF7B90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57" y="3126755"/>
            <a:ext cx="2057400" cy="153888"/>
          </a:xfrm>
        </p:spPr>
        <p:txBody>
          <a:bodyPr lIns="0" tIns="0" rIns="0" bIns="0"/>
          <a:lstStyle>
            <a:lvl1pPr>
              <a:defRPr sz="1000"/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9C3D943-CF29-F519-F396-74A07D368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1FB3283B-FF68-DC05-E013-0F72BC5F0DE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7" y="457257"/>
            <a:ext cx="1530000" cy="370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609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3334076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k 2">
            <a:extLst>
              <a:ext uri="{FF2B5EF4-FFF2-40B4-BE49-F238E27FC236}">
                <a16:creationId xmlns:a16="http://schemas.microsoft.com/office/drawing/2014/main" id="{BEE2BB55-7571-3411-2E34-E5B91C6BF4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2702" r="19833" b="8048"/>
          <a:stretch/>
        </p:blipFill>
        <p:spPr>
          <a:xfrm>
            <a:off x="275326" y="0"/>
            <a:ext cx="8868674" cy="5111750"/>
          </a:xfrm>
          <a:prstGeom prst="rect">
            <a:avLst/>
          </a:prstGeom>
        </p:spPr>
      </p:pic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0058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693963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FE727192-E739-041D-CB81-5E90EF320E51}"/>
              </a:ext>
            </a:extLst>
          </p:cNvPr>
          <p:cNvSpPr/>
          <p:nvPr userDrawn="1"/>
        </p:nvSpPr>
        <p:spPr>
          <a:xfrm>
            <a:off x="0" y="0"/>
            <a:ext cx="4572000" cy="511175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8" y="1368170"/>
            <a:ext cx="3702960" cy="876266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479617"/>
            <a:ext cx="3702960" cy="1749484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036180" y="2479616"/>
            <a:ext cx="3245759" cy="174948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2" name="Grafikk 1">
            <a:extLst>
              <a:ext uri="{FF2B5EF4-FFF2-40B4-BE49-F238E27FC236}">
                <a16:creationId xmlns:a16="http://schemas.microsoft.com/office/drawing/2014/main" id="{7031CF78-9F44-2D1C-EB1A-80013EA580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77B5B3D8-2294-84AC-EF16-BE5723C677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6180" y="1368171"/>
            <a:ext cx="3245759" cy="8762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/>
            </a:lvl1pPr>
          </a:lstStyle>
          <a:p>
            <a:pPr lvl="0"/>
            <a:r>
              <a:rPr lang="nb-NO"/>
              <a:t>Klikk for å legge til tittel</a:t>
            </a:r>
          </a:p>
        </p:txBody>
      </p:sp>
    </p:spTree>
    <p:extLst>
      <p:ext uri="{BB962C8B-B14F-4D97-AF65-F5344CB8AC3E}">
        <p14:creationId xmlns:p14="http://schemas.microsoft.com/office/powerpoint/2010/main" val="14027588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bilde 11">
            <a:extLst>
              <a:ext uri="{FF2B5EF4-FFF2-40B4-BE49-F238E27FC236}">
                <a16:creationId xmlns:a16="http://schemas.microsoft.com/office/drawing/2014/main" id="{183ABFD2-3904-4789-1324-422C0363621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72426" y="0"/>
            <a:ext cx="3471575" cy="5111751"/>
          </a:xfrm>
          <a:custGeom>
            <a:avLst/>
            <a:gdLst>
              <a:gd name="connsiteX0" fmla="*/ 907563 w 3471575"/>
              <a:gd name="connsiteY0" fmla="*/ 0 h 5111751"/>
              <a:gd name="connsiteX1" fmla="*/ 3471575 w 3471575"/>
              <a:gd name="connsiteY1" fmla="*/ 0 h 5111751"/>
              <a:gd name="connsiteX2" fmla="*/ 3471575 w 3471575"/>
              <a:gd name="connsiteY2" fmla="*/ 5111751 h 5111751"/>
              <a:gd name="connsiteX3" fmla="*/ 1241407 w 3471575"/>
              <a:gd name="connsiteY3" fmla="*/ 5111751 h 5111751"/>
              <a:gd name="connsiteX4" fmla="*/ 220495 w 3471575"/>
              <a:gd name="connsiteY4" fmla="*/ 2846952 h 5111751"/>
              <a:gd name="connsiteX5" fmla="*/ 501 w 3471575"/>
              <a:gd name="connsiteY5" fmla="*/ 1900596 h 5111751"/>
              <a:gd name="connsiteX6" fmla="*/ 907563 w 3471575"/>
              <a:gd name="connsiteY6" fmla="*/ 0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71575" h="5111751">
                <a:moveTo>
                  <a:pt x="907563" y="0"/>
                </a:moveTo>
                <a:lnTo>
                  <a:pt x="3471575" y="0"/>
                </a:lnTo>
                <a:lnTo>
                  <a:pt x="3471575" y="5111751"/>
                </a:lnTo>
                <a:lnTo>
                  <a:pt x="1241407" y="5111751"/>
                </a:lnTo>
                <a:lnTo>
                  <a:pt x="220495" y="2846952"/>
                </a:lnTo>
                <a:cubicBezTo>
                  <a:pt x="85574" y="2559052"/>
                  <a:pt x="7368" y="2238853"/>
                  <a:pt x="501" y="1900596"/>
                </a:cubicBezTo>
                <a:cubicBezTo>
                  <a:pt x="-15267" y="1129981"/>
                  <a:pt x="342445" y="438844"/>
                  <a:pt x="90756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2464976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pic>
        <p:nvPicPr>
          <p:cNvPr id="19" name="Grafikk 18">
            <a:extLst>
              <a:ext uri="{FF2B5EF4-FFF2-40B4-BE49-F238E27FC236}">
                <a16:creationId xmlns:a16="http://schemas.microsoft.com/office/drawing/2014/main" id="{836B93EF-C490-5A81-6A58-3BD0EC70A2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9186" b="62840"/>
          <a:stretch/>
        </p:blipFill>
        <p:spPr>
          <a:xfrm>
            <a:off x="5912587" y="3639012"/>
            <a:ext cx="3231413" cy="101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633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k 9">
            <a:extLst>
              <a:ext uri="{FF2B5EF4-FFF2-40B4-BE49-F238E27FC236}">
                <a16:creationId xmlns:a16="http://schemas.microsoft.com/office/drawing/2014/main" id="{BD4153EE-7C08-07D3-CF05-460E299038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669" t="12701" r="8676" b="15138"/>
          <a:stretch/>
        </p:blipFill>
        <p:spPr>
          <a:xfrm>
            <a:off x="0" y="0"/>
            <a:ext cx="9144000" cy="4654493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80F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05563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4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k 2">
            <a:extLst>
              <a:ext uri="{FF2B5EF4-FFF2-40B4-BE49-F238E27FC236}">
                <a16:creationId xmlns:a16="http://schemas.microsoft.com/office/drawing/2014/main" id="{21183325-5D0B-B443-6613-47C611FAF1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430" t="26336" r="10537"/>
          <a:stretch/>
        </p:blipFill>
        <p:spPr>
          <a:xfrm>
            <a:off x="0" y="0"/>
            <a:ext cx="9144000" cy="3499421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17944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5">
    <p:bg>
      <p:bgPr>
        <a:solidFill>
          <a:srgbClr val="5F00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1428" y="0"/>
            <a:ext cx="4572572" cy="4654492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4" name="Plassholder for tekst 12">
            <a:extLst>
              <a:ext uri="{FF2B5EF4-FFF2-40B4-BE49-F238E27FC236}">
                <a16:creationId xmlns:a16="http://schemas.microsoft.com/office/drawing/2014/main" id="{00969560-B406-A3F9-3583-A403A675DE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5438103" cy="46577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8" y="1110634"/>
            <a:ext cx="3648018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8" y="2081047"/>
            <a:ext cx="3648018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8" y="1809436"/>
            <a:ext cx="3648018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pic>
        <p:nvPicPr>
          <p:cNvPr id="17" name="Grafikk 16">
            <a:extLst>
              <a:ext uri="{FF2B5EF4-FFF2-40B4-BE49-F238E27FC236}">
                <a16:creationId xmlns:a16="http://schemas.microsoft.com/office/drawing/2014/main" id="{C2CA1454-1993-8B75-66B5-A59F401C802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8316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k 3">
            <a:extLst>
              <a:ext uri="{FF2B5EF4-FFF2-40B4-BE49-F238E27FC236}">
                <a16:creationId xmlns:a16="http://schemas.microsoft.com/office/drawing/2014/main" id="{5733D159-5E6A-C22F-C226-0B15D57CB2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6948" r="20214" b="11741"/>
          <a:stretch/>
        </p:blipFill>
        <p:spPr>
          <a:xfrm>
            <a:off x="889095" y="0"/>
            <a:ext cx="8254905" cy="4654493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808640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 #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57910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k 16">
            <a:extLst>
              <a:ext uri="{FF2B5EF4-FFF2-40B4-BE49-F238E27FC236}">
                <a16:creationId xmlns:a16="http://schemas.microsoft.com/office/drawing/2014/main" id="{127236AC-385C-EBE5-7561-BE1CA3C70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42" t="8882" r="24702" b="26576"/>
          <a:stretch/>
        </p:blipFill>
        <p:spPr>
          <a:xfrm>
            <a:off x="0" y="0"/>
            <a:ext cx="9144000" cy="5111750"/>
          </a:xfrm>
          <a:prstGeom prst="rect">
            <a:avLst/>
          </a:prstGeom>
        </p:spPr>
      </p:pic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044874A-FADC-7682-CE1B-D61B44B0B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15CFC04B-ED1B-B55D-9BD9-0AD91F8A24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27235" b="36013"/>
          <a:stretch/>
        </p:blipFill>
        <p:spPr>
          <a:xfrm>
            <a:off x="736688" y="1"/>
            <a:ext cx="8337600" cy="511175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89EBC06-125D-02E3-7D7F-05ADCD9166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2039874"/>
            <a:ext cx="6495086" cy="498598"/>
          </a:xfrm>
        </p:spPr>
        <p:txBody>
          <a:bodyPr wrap="square" lIns="0" tIns="0" rIns="0" bIns="0" anchor="t">
            <a:spAutoFit/>
          </a:bodyPr>
          <a:lstStyle>
            <a:lvl1pPr algn="l">
              <a:defRPr sz="3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8A9128B6-D639-84D6-CE51-229DD113EC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713880"/>
            <a:ext cx="6495086" cy="193899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0681BD6-E2BE-C975-4AF7-B057CF7B90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57" y="3126755"/>
            <a:ext cx="2057400" cy="153888"/>
          </a:xfrm>
        </p:spPr>
        <p:txBody>
          <a:bodyPr lIns="0" tIns="0" rIns="0" bIns="0"/>
          <a:lstStyle>
            <a:lvl1pPr>
              <a:defRPr sz="1000"/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9C3D943-CF29-F519-F396-74A07D368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D3645C4E-B90B-D676-13B7-A6F36B63621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7257" y="457257"/>
            <a:ext cx="1530000" cy="370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8450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tel og 3 bilder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15F083A-8242-0524-80C0-48DFC0E26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897051"/>
            <a:ext cx="8229486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E8C16F5-32E8-931A-216C-F29C6892F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92FD23E-9391-0B96-4714-790BDD2CA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7637BAE-6B5B-AB02-038F-56A0927D3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7646EA35-F0E0-A802-CEFA-464D6250911C}"/>
              </a:ext>
            </a:extLst>
          </p:cNvPr>
          <p:cNvSpPr/>
          <p:nvPr userDrawn="1"/>
        </p:nvSpPr>
        <p:spPr>
          <a:xfrm>
            <a:off x="-1" y="2917276"/>
            <a:ext cx="3045600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B3610D67-829F-7753-DAA3-D434EEA73AC5}"/>
              </a:ext>
            </a:extLst>
          </p:cNvPr>
          <p:cNvSpPr/>
          <p:nvPr userDrawn="1"/>
        </p:nvSpPr>
        <p:spPr>
          <a:xfrm>
            <a:off x="3061066" y="2917276"/>
            <a:ext cx="3045600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EE381F8-6F7C-2553-D5D3-B419E77AED5C}"/>
              </a:ext>
            </a:extLst>
          </p:cNvPr>
          <p:cNvSpPr/>
          <p:nvPr userDrawn="1"/>
        </p:nvSpPr>
        <p:spPr>
          <a:xfrm>
            <a:off x="6116022" y="2917276"/>
            <a:ext cx="3027978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74D47579-561A-1035-B1F4-2F2E2A2DC0BC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57258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032AFE5F-B141-8A02-90F1-BA438010E4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58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Plassholder for tekst 12">
            <a:extLst>
              <a:ext uri="{FF2B5EF4-FFF2-40B4-BE49-F238E27FC236}">
                <a16:creationId xmlns:a16="http://schemas.microsoft.com/office/drawing/2014/main" id="{0AADA2E9-4EB7-A342-3AAD-92D5568B019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7259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4E42518D-FA05-425F-F143-37D2998FDFC1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3587619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6" name="Plassholder for tekst 11">
            <a:extLst>
              <a:ext uri="{FF2B5EF4-FFF2-40B4-BE49-F238E27FC236}">
                <a16:creationId xmlns:a16="http://schemas.microsoft.com/office/drawing/2014/main" id="{2E36F93E-5B24-78B5-D4D3-CFF61E4D95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7619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Plassholder for tekst 12">
            <a:extLst>
              <a:ext uri="{FF2B5EF4-FFF2-40B4-BE49-F238E27FC236}">
                <a16:creationId xmlns:a16="http://schemas.microsoft.com/office/drawing/2014/main" id="{B363DA32-0871-CC31-0331-700AE140CE7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7620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Plassholder for bilde 9">
            <a:extLst>
              <a:ext uri="{FF2B5EF4-FFF2-40B4-BE49-F238E27FC236}">
                <a16:creationId xmlns:a16="http://schemas.microsoft.com/office/drawing/2014/main" id="{EBC16840-01B4-C460-A692-F8CFB036901A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6717980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9" name="Plassholder for tekst 11">
            <a:extLst>
              <a:ext uri="{FF2B5EF4-FFF2-40B4-BE49-F238E27FC236}">
                <a16:creationId xmlns:a16="http://schemas.microsoft.com/office/drawing/2014/main" id="{AA6A037C-7F5E-F887-58CA-FDCA9C1575F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17980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Plassholder for tekst 12">
            <a:extLst>
              <a:ext uri="{FF2B5EF4-FFF2-40B4-BE49-F238E27FC236}">
                <a16:creationId xmlns:a16="http://schemas.microsoft.com/office/drawing/2014/main" id="{6CFECE86-FC91-2A0C-8308-B54DDD05C3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717981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1867673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15F083A-8242-0524-80C0-48DFC0E26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E8C16F5-32E8-931A-216C-F29C6892F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92FD23E-9391-0B96-4714-790BDD2CA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7637BAE-6B5B-AB02-038F-56A0927D3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117749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Hvileside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k 5">
            <a:extLst>
              <a:ext uri="{FF2B5EF4-FFF2-40B4-BE49-F238E27FC236}">
                <a16:creationId xmlns:a16="http://schemas.microsoft.com/office/drawing/2014/main" id="{C6507BDE-C397-F11A-6079-DAFE03A289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6493" t="29293"/>
          <a:stretch/>
        </p:blipFill>
        <p:spPr>
          <a:xfrm>
            <a:off x="0" y="0"/>
            <a:ext cx="9144000" cy="5111750"/>
          </a:xfrm>
          <a:prstGeom prst="rect">
            <a:avLst/>
          </a:prstGeom>
        </p:spPr>
      </p:pic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69B9F52B-5A3F-77E9-E1AC-EAF6B21150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156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4826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lilla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348067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indigo">
    <p:bg>
      <p:bgPr>
        <a:solidFill>
          <a:srgbClr val="5F00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898973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lime">
    <p:bg>
      <p:bgPr>
        <a:solidFill>
          <a:srgbClr val="4BF0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930242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grønn">
    <p:bg>
      <p:bgPr>
        <a:solidFill>
          <a:srgbClr val="0058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692863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kside #1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k 5">
            <a:extLst>
              <a:ext uri="{FF2B5EF4-FFF2-40B4-BE49-F238E27FC236}">
                <a16:creationId xmlns:a16="http://schemas.microsoft.com/office/drawing/2014/main" id="{A11C50B3-6FB3-7FC0-04CC-9F1AA64FA5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175"/>
            <a:ext cx="9144000" cy="5105400"/>
          </a:xfrm>
          <a:prstGeom prst="rect">
            <a:avLst/>
          </a:prstGeom>
        </p:spPr>
      </p:pic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-71415"/>
            <a:ext cx="2057400" cy="15389"/>
          </a:xfrm>
          <a:noFill/>
        </p:spPr>
        <p:txBody>
          <a:bodyPr lIns="0" tIns="0" rIns="0" bIns="0"/>
          <a:lstStyle>
            <a:lvl1pPr>
              <a:defRPr sz="100"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F093906E-1006-489A-0CC9-0A0171C76CCE}"/>
              </a:ext>
            </a:extLst>
          </p:cNvPr>
          <p:cNvSpPr/>
          <p:nvPr userDrawn="1"/>
        </p:nvSpPr>
        <p:spPr>
          <a:xfrm>
            <a:off x="3838575" y="2133600"/>
            <a:ext cx="1457325" cy="819150"/>
          </a:xfrm>
          <a:prstGeom prst="rect">
            <a:avLst/>
          </a:prstGeom>
          <a:solidFill>
            <a:srgbClr val="8A0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22ED8C9F-DD38-6BC0-4A88-9916AB4EF59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62210" y="2311399"/>
            <a:ext cx="2019580" cy="48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4175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kside #2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k 6">
            <a:extLst>
              <a:ext uri="{FF2B5EF4-FFF2-40B4-BE49-F238E27FC236}">
                <a16:creationId xmlns:a16="http://schemas.microsoft.com/office/drawing/2014/main" id="{5CA674F5-1A45-F790-44D0-B65417F659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175"/>
            <a:ext cx="9144000" cy="5105400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0EB01969-A9C0-E6E7-5329-2338815D26AB}"/>
              </a:ext>
            </a:extLst>
          </p:cNvPr>
          <p:cNvSpPr/>
          <p:nvPr userDrawn="1"/>
        </p:nvSpPr>
        <p:spPr>
          <a:xfrm>
            <a:off x="3843337" y="2146300"/>
            <a:ext cx="1457325" cy="819150"/>
          </a:xfrm>
          <a:prstGeom prst="rect">
            <a:avLst/>
          </a:prstGeom>
          <a:solidFill>
            <a:srgbClr val="1754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-71415"/>
            <a:ext cx="2057400" cy="15389"/>
          </a:xfrm>
          <a:noFill/>
        </p:spPr>
        <p:txBody>
          <a:bodyPr lIns="0" tIns="0" rIns="0" bIns="0"/>
          <a:lstStyle>
            <a:lvl1pPr>
              <a:defRPr sz="100"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1669C3E9-F960-FFB5-6262-5B805F4996C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62210" y="2311399"/>
            <a:ext cx="2019580" cy="48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3937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ECCE8073-0C93-7D9A-9607-EC2F1069AE5A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3334375-863F-4E79-49BE-58EBF26F2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3702960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60125C0-A856-B565-F422-9E99F8E2F2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518BA95-97CA-594F-CEC4-9016AB21F7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6BDD799-A64A-28BE-E5BC-314CC349B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804CDD7-D731-CE72-6B7E-FA1540CD3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B33E58D6-BCBC-1ACA-DEC4-18E819EBE9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EEC7CB79-1863-78D2-3C2F-0FDC187818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8CF249F0-D73C-ABA7-AFAC-095D211666E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1428" y="0"/>
            <a:ext cx="4572572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825297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">
    <p:bg>
      <p:bgPr>
        <a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AE18C5D0-3022-4BAF-025C-D9004D4350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1982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innhold og gra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B45C3145-1A1F-8DC3-D043-642D4A957A22}"/>
              </a:ext>
            </a:extLst>
          </p:cNvPr>
          <p:cNvSpPr/>
          <p:nvPr userDrawn="1"/>
        </p:nvSpPr>
        <p:spPr>
          <a:xfrm>
            <a:off x="0" y="0"/>
            <a:ext cx="4572572" cy="5111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3334375-863F-4E79-49BE-58EBF26F2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3702960" cy="664797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60125C0-A856-B565-F422-9E99F8E2F2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518BA95-97CA-594F-CEC4-9016AB21F7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6BDD799-A64A-28BE-E5BC-314CC349B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804CDD7-D731-CE72-6B7E-FA1540CD3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B33E58D6-BCBC-1ACA-DEC4-18E819EBE9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EEC7CB79-1863-78D2-3C2F-0FDC187818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>
                <a:solidFill>
                  <a:schemeClr val="lt1"/>
                </a:solidFill>
              </a:defRPr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3" name="Plassholder for diagram 12">
            <a:extLst>
              <a:ext uri="{FF2B5EF4-FFF2-40B4-BE49-F238E27FC236}">
                <a16:creationId xmlns:a16="http://schemas.microsoft.com/office/drawing/2014/main" id="{5411E35D-D571-C517-28AB-D29667B5E49F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958814" y="212725"/>
            <a:ext cx="3836987" cy="4516721"/>
          </a:xfrm>
        </p:spPr>
        <p:txBody>
          <a:bodyPr/>
          <a:lstStyle/>
          <a:p>
            <a:r>
              <a:rPr lang="nb-NO"/>
              <a:t>Klikk ikonet for å legge til et diagram</a:t>
            </a:r>
          </a:p>
        </p:txBody>
      </p:sp>
    </p:spTree>
    <p:extLst>
      <p:ext uri="{BB962C8B-B14F-4D97-AF65-F5344CB8AC3E}">
        <p14:creationId xmlns:p14="http://schemas.microsoft.com/office/powerpoint/2010/main" val="87733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Deloverskrift #2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AE18C5D0-3022-4BAF-025C-D9004D435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FB267606-548B-9316-FDEF-4531CE3CCDD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93130" y="0"/>
            <a:ext cx="5950870" cy="5111751"/>
          </a:xfrm>
          <a:custGeom>
            <a:avLst/>
            <a:gdLst>
              <a:gd name="connsiteX0" fmla="*/ 1456441 w 5950870"/>
              <a:gd name="connsiteY0" fmla="*/ 0 h 5111751"/>
              <a:gd name="connsiteX1" fmla="*/ 5950870 w 5950870"/>
              <a:gd name="connsiteY1" fmla="*/ 0 h 5111751"/>
              <a:gd name="connsiteX2" fmla="*/ 5950870 w 5950870"/>
              <a:gd name="connsiteY2" fmla="*/ 5111751 h 5111751"/>
              <a:gd name="connsiteX3" fmla="*/ 0 w 5950870"/>
              <a:gd name="connsiteY3" fmla="*/ 5111751 h 5111751"/>
              <a:gd name="connsiteX4" fmla="*/ 1402641 w 5950870"/>
              <a:gd name="connsiteY4" fmla="*/ 2939237 h 5111751"/>
              <a:gd name="connsiteX5" fmla="*/ 1820942 w 5950870"/>
              <a:gd name="connsiteY5" fmla="*/ 1885952 h 5111751"/>
              <a:gd name="connsiteX6" fmla="*/ 1498558 w 5950870"/>
              <a:gd name="connsiteY6" fmla="*/ 65865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0870" h="5111751">
                <a:moveTo>
                  <a:pt x="1456441" y="0"/>
                </a:moveTo>
                <a:lnTo>
                  <a:pt x="5950870" y="0"/>
                </a:lnTo>
                <a:lnTo>
                  <a:pt x="5950870" y="5111751"/>
                </a:lnTo>
                <a:lnTo>
                  <a:pt x="0" y="5111751"/>
                </a:lnTo>
                <a:lnTo>
                  <a:pt x="1402641" y="2939237"/>
                </a:lnTo>
                <a:cubicBezTo>
                  <a:pt x="1608318" y="2630570"/>
                  <a:pt x="1754216" y="2274883"/>
                  <a:pt x="1820942" y="1885952"/>
                </a:cubicBezTo>
                <a:cubicBezTo>
                  <a:pt x="1932678" y="1234479"/>
                  <a:pt x="1803786" y="597553"/>
                  <a:pt x="1498558" y="65865"/>
                </a:cubicBez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968344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Deloverskrift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FB267606-548B-9316-FDEF-4531CE3CCDD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93130" y="0"/>
            <a:ext cx="5950870" cy="5111751"/>
          </a:xfrm>
          <a:custGeom>
            <a:avLst/>
            <a:gdLst>
              <a:gd name="connsiteX0" fmla="*/ 1456441 w 5950870"/>
              <a:gd name="connsiteY0" fmla="*/ 0 h 5111751"/>
              <a:gd name="connsiteX1" fmla="*/ 5950870 w 5950870"/>
              <a:gd name="connsiteY1" fmla="*/ 0 h 5111751"/>
              <a:gd name="connsiteX2" fmla="*/ 5950870 w 5950870"/>
              <a:gd name="connsiteY2" fmla="*/ 5111751 h 5111751"/>
              <a:gd name="connsiteX3" fmla="*/ 0 w 5950870"/>
              <a:gd name="connsiteY3" fmla="*/ 5111751 h 5111751"/>
              <a:gd name="connsiteX4" fmla="*/ 1402641 w 5950870"/>
              <a:gd name="connsiteY4" fmla="*/ 2939237 h 5111751"/>
              <a:gd name="connsiteX5" fmla="*/ 1820942 w 5950870"/>
              <a:gd name="connsiteY5" fmla="*/ 1885952 h 5111751"/>
              <a:gd name="connsiteX6" fmla="*/ 1498558 w 5950870"/>
              <a:gd name="connsiteY6" fmla="*/ 65865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0870" h="5111751">
                <a:moveTo>
                  <a:pt x="1456441" y="0"/>
                </a:moveTo>
                <a:lnTo>
                  <a:pt x="5950870" y="0"/>
                </a:lnTo>
                <a:lnTo>
                  <a:pt x="5950870" y="5111751"/>
                </a:lnTo>
                <a:lnTo>
                  <a:pt x="0" y="5111751"/>
                </a:lnTo>
                <a:lnTo>
                  <a:pt x="1402641" y="2939237"/>
                </a:lnTo>
                <a:cubicBezTo>
                  <a:pt x="1608318" y="2630570"/>
                  <a:pt x="1754216" y="2274883"/>
                  <a:pt x="1820942" y="1885952"/>
                </a:cubicBezTo>
                <a:cubicBezTo>
                  <a:pt x="1932678" y="1234479"/>
                  <a:pt x="1803786" y="597553"/>
                  <a:pt x="1498558" y="6586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887541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k 19">
            <a:extLst>
              <a:ext uri="{FF2B5EF4-FFF2-40B4-BE49-F238E27FC236}">
                <a16:creationId xmlns:a16="http://schemas.microsoft.com/office/drawing/2014/main" id="{DF7D169B-633E-2A31-AF34-59AB49BEA4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5740" b="40296"/>
          <a:stretch/>
        </p:blipFill>
        <p:spPr>
          <a:xfrm>
            <a:off x="4858339" y="1744958"/>
            <a:ext cx="4285661" cy="2909535"/>
          </a:xfrm>
          <a:prstGeom prst="rect">
            <a:avLst/>
          </a:prstGeom>
        </p:spPr>
      </p:pic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6E6E083F-35A9-65FC-A0A3-4CFDEB97F8B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28929230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0058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3273493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A0CE2F-587C-2A35-D66A-1FC176F13F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825079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11" imgH="411" progId="TCLayout.ActiveDocument.1">
                  <p:embed/>
                </p:oleObj>
              </mc:Choice>
              <mc:Fallback>
                <p:oleObj name="think-cell Slide" r:id="rId32" imgW="411" imgH="41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A0CE2F-587C-2A35-D66A-1FC176F13F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671BD923-3E36-84C6-4D50-0D5300920C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8229486" cy="6647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DA15E85F-A1B2-39DA-282C-5327D4C868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57" y="2081047"/>
            <a:ext cx="8229486" cy="21480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A44EF01-02A4-7E88-4DD7-62AF12BDE9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-63720"/>
            <a:ext cx="2057400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">
                <a:solidFill>
                  <a:schemeClr val="dk1"/>
                </a:solidFill>
              </a:defRPr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6E953B6-6F68-E621-F184-467E25816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-63720"/>
            <a:ext cx="2057400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00">
                <a:solidFill>
                  <a:schemeClr val="dk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32316A8-2520-2CFD-627A-62D77CB02A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57" y="4796968"/>
            <a:ext cx="20574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3" name="Grafikk 12">
            <a:extLst>
              <a:ext uri="{FF2B5EF4-FFF2-40B4-BE49-F238E27FC236}">
                <a16:creationId xmlns:a16="http://schemas.microsoft.com/office/drawing/2014/main" id="{3990BA13-52AF-0D85-828E-7A521DE0A57E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457257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361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70" r:id="rId5"/>
    <p:sldLayoutId id="2147483661" r:id="rId6"/>
    <p:sldLayoutId id="2147483662" r:id="rId7"/>
    <p:sldLayoutId id="2147483652" r:id="rId8"/>
    <p:sldLayoutId id="2147483671" r:id="rId9"/>
    <p:sldLayoutId id="2147483672" r:id="rId10"/>
    <p:sldLayoutId id="2147483673" r:id="rId11"/>
    <p:sldLayoutId id="2147483682" r:id="rId12"/>
    <p:sldLayoutId id="2147483674" r:id="rId13"/>
    <p:sldLayoutId id="2147483675" r:id="rId14"/>
    <p:sldLayoutId id="2147483676" r:id="rId15"/>
    <p:sldLayoutId id="2147483677" r:id="rId16"/>
    <p:sldLayoutId id="2147483680" r:id="rId17"/>
    <p:sldLayoutId id="2147483678" r:id="rId18"/>
    <p:sldLayoutId id="2147483679" r:id="rId19"/>
    <p:sldLayoutId id="2147483681" r:id="rId20"/>
    <p:sldLayoutId id="2147483654" r:id="rId21"/>
    <p:sldLayoutId id="2147483669" r:id="rId22"/>
    <p:sldLayoutId id="2147483655" r:id="rId23"/>
    <p:sldLayoutId id="2147483663" r:id="rId24"/>
    <p:sldLayoutId id="2147483664" r:id="rId25"/>
    <p:sldLayoutId id="2147483665" r:id="rId26"/>
    <p:sldLayoutId id="2147483666" r:id="rId27"/>
    <p:sldLayoutId id="2147483667" r:id="rId28"/>
    <p:sldLayoutId id="2147483668" r:id="rId29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06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4000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38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1620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.xml"/><Relationship Id="rId6" Type="http://schemas.openxmlformats.org/officeDocument/2006/relationships/image" Target="../media/image33.png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gif"/><Relationship Id="rId3" Type="http://schemas.openxmlformats.org/officeDocument/2006/relationships/oleObject" Target="../embeddings/oleObject5.bin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0" Type="http://schemas.openxmlformats.org/officeDocument/2006/relationships/image" Target="../media/image42.gif"/><Relationship Id="rId4" Type="http://schemas.openxmlformats.org/officeDocument/2006/relationships/image" Target="../media/image1.emf"/><Relationship Id="rId9" Type="http://schemas.openxmlformats.org/officeDocument/2006/relationships/image" Target="../media/image4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.xml"/><Relationship Id="rId5" Type="http://schemas.openxmlformats.org/officeDocument/2006/relationships/image" Target="../media/image44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E8B56EC-7292-D1FD-439F-B85706CC2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7867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8B56EC-7292-D1FD-439F-B85706CC2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EB808BFC-B71A-C9E5-5827-2A03764745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969" y="758998"/>
            <a:ext cx="3926766" cy="350758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nb-NO" sz="1800" kern="1200">
                <a:latin typeface="+mj-lt"/>
                <a:ea typeface="+mj-ea"/>
                <a:cs typeface="+mj-cs"/>
              </a:rPr>
              <a:t>Strømprisindeksen for a</a:t>
            </a:r>
            <a:r>
              <a:rPr lang="nb-NO" sz="1800"/>
              <a:t>pril 2025</a:t>
            </a:r>
            <a:endParaRPr lang="nb-NO" sz="1800" kern="1200">
              <a:latin typeface="+mj-lt"/>
              <a:ea typeface="+mj-ea"/>
              <a:cs typeface="+mj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1CD328A-FCBF-98DB-A3A2-36A13A7E9980}"/>
              </a:ext>
            </a:extLst>
          </p:cNvPr>
          <p:cNvSpPr txBox="1"/>
          <p:nvPr/>
        </p:nvSpPr>
        <p:spPr>
          <a:xfrm>
            <a:off x="302969" y="1109756"/>
            <a:ext cx="4036769" cy="3242996"/>
          </a:xfrm>
          <a:prstGeom prst="rect">
            <a:avLst/>
          </a:prstGeom>
        </p:spPr>
        <p:txBody>
          <a:bodyPr rot="0" spcFirstLastPara="0" vertOverflow="overflow" horzOverflow="overflow" vert="horz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Strømregningene for april var betydelig lavere enn regningene for mars, og de laveste regningene for en april-måned siden strømprisindeksen startet i august 2021. 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De lavere strømregningene skyldes hovedsakelig at det varme vårværet i april førte til en betydelig nedgang i strømforbruket, fordi folk brukte mindre strøm på oppvarming. </a:t>
            </a:r>
            <a:endParaRPr lang="nb-NO" sz="800">
              <a:cs typeface="Arial"/>
            </a:endParaRP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Strømforbruket til en gjennomsnittshusholdning falt fra mars til april med mellom 13 og 28 prosent i alle de fem norske strømprisområdene. Sammenliknet med april i fjor, var strømforbruket i årets april 5-17 prosent lavere over hele landet, viser tall fra </a:t>
            </a:r>
            <a:r>
              <a:rPr lang="nb-NO" sz="800" err="1"/>
              <a:t>Elhub</a:t>
            </a:r>
            <a:r>
              <a:rPr lang="nb-NO" sz="800"/>
              <a:t>. </a:t>
            </a:r>
            <a:endParaRPr lang="nb-NO" sz="800">
              <a:cs typeface="Arial"/>
            </a:endParaRP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I Sørøst- og Sørvest-Norge steg strømprisene noe i april, hovedsakelig som en følge av lav vindkraftproduksjon, som gjorde at vi fikk mer prissmitte fra landene vi er koblet til sørover på kontinentet – som i april var Danmark, Tyskland og England. Prissmitten ble imidlertid begrenset av at det var usedvanlig mye vann i magasinene til vannkraftverkene og høy vannkraftproduksjon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Ved utgangen av april var fyllingsgraden i de norske vannmagasinene på 47,5 prosent, viser tall fra NVE. Dette er det høyeste nivået for denne tiden av året på minst 30 år, siden målingene begynte i 1995. 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I Vest-Norge, Midt-Norge og Nord-Norge falt strømprisene i april som en følge av høy vannkraftproduksjon og lavere strømforbruk. Nord-Norge fikk den laveste april-prisen noensinne. I Midt-Norge og Vest-Norge ble april-prisen den laveste prisen for denne måneden på fem år.  </a:t>
            </a:r>
            <a:endParaRPr lang="nb-NO" sz="800">
              <a:cs typeface="Arial"/>
            </a:endParaRP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Dersom norgespris hadde vært innført allerede, kunne kunder i Sørøst- og Sørvest-Norge spart om lag 200 kroner i april, mens kunder i Vest-Norge kunne spart omtrent 50 kroner. I Midt-Norge og Nord-Norge ville strømkundene ha måttet betale henholdsvis rundt 350 kroner og 800 kroner mer hvis de hadde hatt norgespris. </a:t>
            </a:r>
            <a:endParaRPr lang="nb-NO" sz="800">
              <a:cs typeface="Arial"/>
            </a:endParaRP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AC8519B-310F-D2CA-BE3D-69752A6AE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57" y="4796968"/>
            <a:ext cx="2057400" cy="153888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20EE8A8A-9F66-4500-8547-91D11C77B4B7}" type="slidenum">
              <a:rPr lang="nb-NO" smtClean="0"/>
              <a:pPr>
                <a:spcAft>
                  <a:spcPts val="600"/>
                </a:spcAft>
              </a:pPr>
              <a:t>1</a:t>
            </a:fld>
            <a:endParaRPr lang="nb-NO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6068879A-59D1-FF84-F087-3EEB8BFDFA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nb-NO"/>
              <a:t>Oslo, dd.mm.yyyy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AE1BF2DD-F7F8-7CA0-C20E-8D24065D5F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89499" y="0"/>
            <a:ext cx="4654502" cy="4654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9721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079E723-2D8B-9E39-E93A-0F21F77BD2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8131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79E723-2D8B-9E39-E93A-0F21F77BD2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787122A-4536-2BFE-134B-7186FF3A3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</a:t>
            </a:r>
            <a:r>
              <a:rPr lang="nb-NO" err="1"/>
              <a:t>dd.mm.yyyy</a:t>
            </a:r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EB152C5-D1F6-A0FC-C7BA-61454D212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2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C9D230B1-551A-0E7A-96AB-ADE59A9067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1920" y="177171"/>
            <a:ext cx="5980160" cy="494406"/>
          </a:xfrm>
        </p:spPr>
        <p:txBody>
          <a:bodyPr vert="horz"/>
          <a:lstStyle/>
          <a:p>
            <a:r>
              <a:rPr lang="nb-NO">
                <a:solidFill>
                  <a:schemeClr val="accent5">
                    <a:lumMod val="75000"/>
                  </a:schemeClr>
                </a:solidFill>
                <a:cs typeface="Arial"/>
              </a:rPr>
              <a:t>Sammenlikning april-mars</a:t>
            </a:r>
            <a:endParaRPr lang="nb-NO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04DCDA78-71F1-811A-A7B3-AF6C80100E58}"/>
              </a:ext>
            </a:extLst>
          </p:cNvPr>
          <p:cNvSpPr txBox="1"/>
          <p:nvPr/>
        </p:nvSpPr>
        <p:spPr>
          <a:xfrm>
            <a:off x="243008" y="684315"/>
            <a:ext cx="4865257" cy="10618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2">
                    <a:lumMod val="50000"/>
                  </a:schemeClr>
                </a:solidFill>
              </a:rPr>
              <a:t>Strømregningene ble lavere i april enn i mars i hele Norg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2">
                    <a:lumMod val="50000"/>
                  </a:schemeClr>
                </a:solidFill>
              </a:rPr>
              <a:t>Hovedårsaken var at det varme aprilværet gjorde at folk brukte mindre strøm på oppvarming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2">
                    <a:lumMod val="50000"/>
                  </a:schemeClr>
                </a:solidFill>
              </a:rPr>
              <a:t>Strømprisene steg noe i Sørøst- og Sørvest-Norge i april, og falt i Vest-Norge, Midt-Norge og Nord-Norg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2">
                    <a:lumMod val="50000"/>
                  </a:schemeClr>
                </a:solidFill>
              </a:rPr>
              <a:t>El-avgiften økte i april fra 9,79 øre/kWh til 16,93 øre/kWh. Elavgiften er lavere i månedene januar-mars, og har vært dette siden vintersatsen ble innført i 2022.  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1AB5B9F3-8F6E-FB63-4035-D0B61CCAA3FF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/>
              <a:t>Tall er i norske kroner dersom ikke annet er oppgitt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D21B8C53-AA53-A852-4492-9BA4D601B04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33586" y="1341108"/>
            <a:ext cx="4110409" cy="308280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1209CBB-C9AB-BA6E-3FAE-5B8063D6E61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3650" y="1789647"/>
            <a:ext cx="1661196" cy="2808213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98A31114-AE4A-2C3A-5034-C60474D62470}"/>
              </a:ext>
            </a:extLst>
          </p:cNvPr>
          <p:cNvSpPr txBox="1"/>
          <p:nvPr/>
        </p:nvSpPr>
        <p:spPr>
          <a:xfrm>
            <a:off x="5301836" y="1156364"/>
            <a:ext cx="476081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Strømregninger i april og mars 2025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D388F67E-CBD0-6D61-3BE3-4DCD8FC2400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084341" y="1789647"/>
            <a:ext cx="1661196" cy="2808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3459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A0A2B6D-88E9-5295-3A1E-C549296347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8368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0A2B6D-88E9-5295-3A1E-C549296347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787122A-4536-2BFE-134B-7186FF3A3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EB152C5-D1F6-A0FC-C7BA-61454D212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3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C9D230B1-551A-0E7A-96AB-ADE59A9067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5612" y="449868"/>
            <a:ext cx="5359586" cy="664797"/>
          </a:xfrm>
        </p:spPr>
        <p:txBody>
          <a:bodyPr vert="horz"/>
          <a:lstStyle/>
          <a:p>
            <a:r>
              <a:rPr lang="nb-NO">
                <a:solidFill>
                  <a:schemeClr val="accent5">
                    <a:lumMod val="75000"/>
                  </a:schemeClr>
                </a:solidFill>
                <a:cs typeface="Arial"/>
              </a:rPr>
              <a:t>Sammenligning april 2025-2024</a:t>
            </a:r>
            <a:endParaRPr lang="nb-NO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C70556-B41D-FA15-EDBD-21B7105AEC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10667" y="1269083"/>
            <a:ext cx="4230172" cy="317262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33A123B-CC7B-438C-45B1-FD90C4A986E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0789" y="1600029"/>
            <a:ext cx="1704237" cy="288097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247D54D-3951-79FF-87AE-2650957066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77190" y="1596558"/>
            <a:ext cx="1708344" cy="2887914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A033AADF-D07F-262B-FDF8-3A80D13F93CB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>
                <a:solidFill>
                  <a:schemeClr val="bg1"/>
                </a:solidFill>
              </a:rPr>
              <a:t>Tall er i norske kroner dersom ikke annet er oppgitt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21531C8D-908F-3C5D-76AA-208A0DF8D559}"/>
              </a:ext>
            </a:extLst>
          </p:cNvPr>
          <p:cNvSpPr txBox="1"/>
          <p:nvPr/>
        </p:nvSpPr>
        <p:spPr>
          <a:xfrm>
            <a:off x="260741" y="826889"/>
            <a:ext cx="48714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Over hele landet er strømregningene for april lavere enn for samme måned i fjor. Årets april-regning er også de laveste for denne måneden siden Strømprisindeksen startet i august 2021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I alle prisområdene var strømforbruket i april lavere enn i samme måned i fjor. Dette skyldes at årets april var varmere, og folk derfor brukte mindre strøm på oppvarming.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Strømprisene var i april betydelig lavere i Vest-Norge, Midt-Norge og Nord-Norge enn i samme måned i fjor. Prisene var litt høyere i Sørvest-Norge og omtrent uendret i Sørøst-Norge. 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9F768446-0AB2-B3E1-3333-88CAAE767719}"/>
              </a:ext>
            </a:extLst>
          </p:cNvPr>
          <p:cNvSpPr txBox="1"/>
          <p:nvPr/>
        </p:nvSpPr>
        <p:spPr>
          <a:xfrm>
            <a:off x="5050498" y="1104929"/>
            <a:ext cx="476081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Strømregninger april 2025 og april 2024</a:t>
            </a:r>
          </a:p>
        </p:txBody>
      </p:sp>
    </p:spTree>
    <p:extLst>
      <p:ext uri="{BB962C8B-B14F-4D97-AF65-F5344CB8AC3E}">
        <p14:creationId xmlns:p14="http://schemas.microsoft.com/office/powerpoint/2010/main" val="42750140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E601A1A-2629-9E12-9DFE-9BDAC856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4749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601A1A-2629-9E12-9DFE-9BDAC856E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53928CA-7646-A487-8996-CE97A6275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81775C7B-262E-DE67-74E1-4F51072BE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4</a:t>
            </a:fld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BF121519-CDDC-1962-9CD6-6AAC2E69B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raftutveksling</a:t>
            </a:r>
          </a:p>
        </p:txBody>
      </p:sp>
      <p:pic>
        <p:nvPicPr>
          <p:cNvPr id="12" name="Plassholder for innhold 11">
            <a:extLst>
              <a:ext uri="{FF2B5EF4-FFF2-40B4-BE49-F238E27FC236}">
                <a16:creationId xmlns:a16="http://schemas.microsoft.com/office/drawing/2014/main" id="{475A88D7-D294-62B2-8755-82110AB84DD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346" y="701624"/>
            <a:ext cx="2705555" cy="3865081"/>
          </a:xfrm>
        </p:spPr>
      </p:pic>
      <p:pic>
        <p:nvPicPr>
          <p:cNvPr id="10" name="Plassholder for innhold 9">
            <a:extLst>
              <a:ext uri="{FF2B5EF4-FFF2-40B4-BE49-F238E27FC236}">
                <a16:creationId xmlns:a16="http://schemas.microsoft.com/office/drawing/2014/main" id="{EDD2A1DB-03B4-A540-E2CF-68A1C96AF138}"/>
              </a:ext>
            </a:extLst>
          </p:cNvPr>
          <p:cNvPicPr>
            <a:picLocks noGrp="1" noChangeAspect="1"/>
          </p:cNvPicPr>
          <p:nvPr>
            <p:ph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78058" y="540048"/>
            <a:ext cx="2818288" cy="3865081"/>
          </a:xfrm>
          <a:prstGeom prst="rect">
            <a:avLst/>
          </a:prstGeom>
        </p:spPr>
      </p:pic>
      <p:sp>
        <p:nvSpPr>
          <p:cNvPr id="13" name="TekstSylinder 12">
            <a:extLst>
              <a:ext uri="{FF2B5EF4-FFF2-40B4-BE49-F238E27FC236}">
                <a16:creationId xmlns:a16="http://schemas.microsoft.com/office/drawing/2014/main" id="{D3816D81-2F0C-5C31-0215-8B391B6646ED}"/>
              </a:ext>
            </a:extLst>
          </p:cNvPr>
          <p:cNvSpPr txBox="1"/>
          <p:nvPr/>
        </p:nvSpPr>
        <p:spPr>
          <a:xfrm>
            <a:off x="457257" y="1643063"/>
            <a:ext cx="2786598" cy="280076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I april hadde vi nettoimport fra Sverige og nettoeksport til Danmark, Storbritannia og Tysklan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Den hydrologiske situasjonen i Sør-Norge har svekket seg slik at strømprisene har nærmet seg prisene i Europa noe. I tillegg har prisene i Europa falt grunnet mye solkraftproduksj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>
                <a:cs typeface="Arial"/>
              </a:rPr>
              <a:t>Strømkabelen til Nederland har vært ute av drift siden 1. april grunnet planlagt vedlikehold. Dermed har det ikke vært noe handel med Nederland i denne perio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I sum eksporterte vi ca. 2,1 </a:t>
            </a:r>
            <a:r>
              <a:rPr lang="nb-NO" sz="1100" err="1"/>
              <a:t>TWh</a:t>
            </a:r>
            <a:r>
              <a:rPr lang="nb-NO" sz="1100"/>
              <a:t> med strøm i april. 	</a:t>
            </a:r>
            <a:endParaRPr lang="nb-NO" sz="1100">
              <a:cs typeface="Arial"/>
            </a:endParaRPr>
          </a:p>
        </p:txBody>
      </p:sp>
      <p:pic>
        <p:nvPicPr>
          <p:cNvPr id="1026" name="Picture 2" descr="Danmarks flagg og våpen – Store norske leksikon">
            <a:extLst>
              <a:ext uri="{FF2B5EF4-FFF2-40B4-BE49-F238E27FC236}">
                <a16:creationId xmlns:a16="http://schemas.microsoft.com/office/drawing/2014/main" id="{A3000F04-E780-98BA-A9F5-FBB1AD330F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6508" y="3935250"/>
            <a:ext cx="416004" cy="311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veriges flagg og våpen – Store norske leksikon">
            <a:extLst>
              <a:ext uri="{FF2B5EF4-FFF2-40B4-BE49-F238E27FC236}">
                <a16:creationId xmlns:a16="http://schemas.microsoft.com/office/drawing/2014/main" id="{7BD95610-1C21-5E69-CD9D-A797BAA38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5090" y="4001116"/>
            <a:ext cx="427132" cy="142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Flag of the United Kingdom - Wikipedia">
            <a:extLst>
              <a:ext uri="{FF2B5EF4-FFF2-40B4-BE49-F238E27FC236}">
                <a16:creationId xmlns:a16="http://schemas.microsoft.com/office/drawing/2014/main" id="{ACF3AF7C-A2DE-81CC-E858-516CB40827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9262" y="3943735"/>
            <a:ext cx="427132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Nederlands flagg og våpen – Store norske leksikon">
            <a:extLst>
              <a:ext uri="{FF2B5EF4-FFF2-40B4-BE49-F238E27FC236}">
                <a16:creationId xmlns:a16="http://schemas.microsoft.com/office/drawing/2014/main" id="{8EF0B950-C72C-D5A3-948A-06A2609A5B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0547" y="4085592"/>
            <a:ext cx="427132" cy="245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Tysklands flagg og våpen – Store norske leksikon">
            <a:extLst>
              <a:ext uri="{FF2B5EF4-FFF2-40B4-BE49-F238E27FC236}">
                <a16:creationId xmlns:a16="http://schemas.microsoft.com/office/drawing/2014/main" id="{93E8EE5C-F00F-9D19-55F8-6D26C92554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0919" y="3933193"/>
            <a:ext cx="427132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06645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357CBFE-67B8-6958-F926-F7EF5569B0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783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57CBFE-67B8-6958-F926-F7EF5569B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9A5425B-7AF1-1FCB-F05D-DEFBAC6078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5438103" cy="4657748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94EAE05A-F727-0685-6F86-2AD507987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57" y="4796968"/>
            <a:ext cx="2057400" cy="153888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0EE8A8A-9F66-4500-8547-91D11C77B4B7}" type="slidenum">
              <a:rPr lang="nb-NO" smtClean="0"/>
              <a:pPr>
                <a:spcAft>
                  <a:spcPts val="600"/>
                </a:spcAft>
              </a:pPr>
              <a:t>5</a:t>
            </a:fld>
            <a:endParaRPr lang="nb-NO"/>
          </a:p>
        </p:txBody>
      </p:sp>
      <p:sp>
        <p:nvSpPr>
          <p:cNvPr id="27" name="Title 5">
            <a:extLst>
              <a:ext uri="{FF2B5EF4-FFF2-40B4-BE49-F238E27FC236}">
                <a16:creationId xmlns:a16="http://schemas.microsoft.com/office/drawing/2014/main" id="{D4479EF9-3012-3964-A9D0-6C16A3C05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6803" y="398513"/>
            <a:ext cx="5774034" cy="664797"/>
          </a:xfrm>
        </p:spPr>
        <p:txBody>
          <a:bodyPr vert="horz"/>
          <a:lstStyle/>
          <a:p>
            <a:r>
              <a:rPr lang="nb-NO">
                <a:cs typeface="Arial"/>
              </a:rPr>
              <a:t>Hva forklarer strømprisene i april?</a:t>
            </a:r>
            <a:endParaRPr lang="nb-NO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2598B32B-A883-0F3D-57FD-5F9BDF19C4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nb-NO"/>
              <a:t>Oslo, dd.mm.yyyy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8A3EFEB1-D7F7-A46E-7DED-AE462CEAB1A0}"/>
              </a:ext>
            </a:extLst>
          </p:cNvPr>
          <p:cNvSpPr txBox="1"/>
          <p:nvPr/>
        </p:nvSpPr>
        <p:spPr>
          <a:xfrm>
            <a:off x="280502" y="897875"/>
            <a:ext cx="4000459" cy="239168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050" b="1" kern="100">
                <a:ea typeface="Calibri"/>
                <a:cs typeface="Arial"/>
              </a:rPr>
              <a:t>Økte prisforskjeller mellom Vestlandet og Sør- og Østlandet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50" kern="100">
                <a:ea typeface="Calibri"/>
                <a:cs typeface="Arial"/>
              </a:rPr>
              <a:t>Prisområde NO5 dekker store deler av </a:t>
            </a:r>
            <a:r>
              <a:rPr lang="nb-NO" sz="1050" kern="100" err="1">
                <a:ea typeface="Calibri"/>
                <a:cs typeface="Arial"/>
              </a:rPr>
              <a:t>Vestland</a:t>
            </a:r>
            <a:r>
              <a:rPr lang="nb-NO" sz="1050" kern="100">
                <a:ea typeface="Calibri"/>
                <a:cs typeface="Arial"/>
              </a:rPr>
              <a:t> fylke og går også delvis inn i Buskerud fylke. Det er vårt nyeste prisområde og ble opprettet i mars 2010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50" kern="100">
                <a:ea typeface="Calibri"/>
                <a:cs typeface="Arial"/>
              </a:rPr>
              <a:t>Historisk har NO5 hatt svært like priser som Sørøst-Norge (NO1), også gjennom energikrisen i 2022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50" kern="100">
                <a:ea typeface="Calibri"/>
                <a:cs typeface="Arial"/>
              </a:rPr>
              <a:t>Siden november 2024 har imidlertid prisene i NO5 skilt seg betydelig fra NO1. Dette henger sammen med innføringen av flytbasert markedskobling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50" kern="100">
                <a:ea typeface="Calibri"/>
                <a:cs typeface="Arial"/>
              </a:rPr>
              <a:t>Det har i år vært større forskjeller mellom prisene i NO5 og NO1 enn mellom prisene i NO2 og NO1.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E225F7EA-99E6-543D-3D1D-6EACC2C8D6E1}"/>
              </a:ext>
            </a:extLst>
          </p:cNvPr>
          <p:cNvSpPr txBox="1"/>
          <p:nvPr/>
        </p:nvSpPr>
        <p:spPr>
          <a:xfrm>
            <a:off x="4471460" y="897875"/>
            <a:ext cx="4000459" cy="373807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000" b="1" kern="100">
                <a:ea typeface="Calibri"/>
                <a:cs typeface="Arial"/>
              </a:rPr>
              <a:t>Stor variasjon i været i nord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900" kern="100">
                <a:ea typeface="Calibri"/>
                <a:cs typeface="Arial"/>
              </a:rPr>
              <a:t>Det har kommet svært mye nedbør i Nord-Norge denne vinteren, og landsdelen har nå tidenes høyeste «hydrologiske balanse». Dette er et mål på hvor mye vannkraft som potensielt kan produseres i et normalt år. Den hydrologiske balansen i Nord-Norge er nå mer enn dobbelt så høy som den forrige rekorden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900" kern="100">
                <a:ea typeface="Calibri"/>
                <a:cs typeface="Arial"/>
              </a:rPr>
              <a:t>I april 2024 var Nord-Norge i nøyaktig motsatt situasjon. Da hadde en tørr og kald vinter ført til at den hydrologiske balansen var rekordlav, og mange var bekymret for hva som ville skje dersom Nord-Norge skulle få en ny, tørr vinter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900" kern="100">
                <a:ea typeface="Calibri"/>
                <a:cs typeface="Arial"/>
              </a:rPr>
              <a:t>Sist vinter var den tredje vinteren på få år med ekstreme nedbørsmengder i Nord-Norge. Også i 2022 og 2020 hadde landsdelen en svært sterk hydrologisk situasjon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900" kern="100">
                <a:ea typeface="Calibri"/>
                <a:cs typeface="Arial"/>
              </a:rPr>
              <a:t>Med tiltakende klimaendringer vil vi oppleve flere og lengre perioder med mye nedbør og flere perioder med tørke. Det gjør et værbasert kraftsystem som Norges utsatt for potensielle svingninger i tilgangen på strøm. For å motvirke slike svingninger trenger vi et sterkere nett for å flytte strøm fra overskuddsområder til underskuddsområder, andre typer kraftproduksjon som vindkraft, og et velfungerende marked som gir prissignaler om knappheten på strøm. 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nb-NO" sz="1000" kern="100">
              <a:ea typeface="Calibr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94287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62D50B9E-CD09-2192-6C3B-95534AAE47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88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D50B9E-CD09-2192-6C3B-95534AAE4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5213922F-444B-9587-AFC4-5C4C6A8D8F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0522" y="306645"/>
            <a:ext cx="6455939" cy="494406"/>
          </a:xfrm>
        </p:spPr>
        <p:txBody>
          <a:bodyPr vert="horz"/>
          <a:lstStyle/>
          <a:p>
            <a:r>
              <a:rPr lang="nb-NO" sz="2000">
                <a:cs typeface="Arial"/>
              </a:rPr>
              <a:t>Vedlegg 1: Detaljert regning for januar 2025</a:t>
            </a:r>
            <a:endParaRPr lang="nb-NO" sz="2000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B2C698D7-E915-EED2-0D1D-8D9A15B54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8" name="Plassholder for lysbildenummer 7">
            <a:extLst>
              <a:ext uri="{FF2B5EF4-FFF2-40B4-BE49-F238E27FC236}">
                <a16:creationId xmlns:a16="http://schemas.microsoft.com/office/drawing/2014/main" id="{9D0095D8-72B6-43FF-9307-B3808DE88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6</a:t>
            </a:fld>
            <a:endParaRPr lang="nb-NO"/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08E89037-2C15-7BA4-E420-580B2668841D}"/>
              </a:ext>
            </a:extLst>
          </p:cNvPr>
          <p:cNvSpPr/>
          <p:nvPr/>
        </p:nvSpPr>
        <p:spPr>
          <a:xfrm>
            <a:off x="7249362" y="1260314"/>
            <a:ext cx="1566518" cy="619951"/>
          </a:xfrm>
          <a:prstGeom prst="wedgeRectCallout">
            <a:avLst>
              <a:gd name="adj1" fmla="val -68868"/>
              <a:gd name="adj2" fmla="val 55021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800">
                <a:cs typeface="Arial"/>
              </a:rPr>
              <a:t>Dette er hva kraftprodusentene får betalt for strømmen</a:t>
            </a:r>
          </a:p>
        </p:txBody>
      </p:sp>
      <p:sp>
        <p:nvSpPr>
          <p:cNvPr id="3" name="Snakkeboble: rektangel 2">
            <a:extLst>
              <a:ext uri="{FF2B5EF4-FFF2-40B4-BE49-F238E27FC236}">
                <a16:creationId xmlns:a16="http://schemas.microsoft.com/office/drawing/2014/main" id="{127DA9E0-2CEF-FE7D-6AE9-33C8E0D6BC4E}"/>
              </a:ext>
            </a:extLst>
          </p:cNvPr>
          <p:cNvSpPr/>
          <p:nvPr/>
        </p:nvSpPr>
        <p:spPr>
          <a:xfrm>
            <a:off x="7249362" y="2092659"/>
            <a:ext cx="1631164" cy="338904"/>
          </a:xfrm>
          <a:prstGeom prst="wedgeRectCallout">
            <a:avLst>
              <a:gd name="adj1" fmla="val -69102"/>
              <a:gd name="adj2" fmla="val 12587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/>
              <a:t>Dette er strømleverandørens påslag på strømregningen</a:t>
            </a:r>
          </a:p>
        </p:txBody>
      </p:sp>
      <p:sp>
        <p:nvSpPr>
          <p:cNvPr id="4" name="Speech Bubble: Rectangle 10">
            <a:extLst>
              <a:ext uri="{FF2B5EF4-FFF2-40B4-BE49-F238E27FC236}">
                <a16:creationId xmlns:a16="http://schemas.microsoft.com/office/drawing/2014/main" id="{113A1B97-60AB-A82D-7695-603B4FDE308B}"/>
              </a:ext>
            </a:extLst>
          </p:cNvPr>
          <p:cNvSpPr/>
          <p:nvPr/>
        </p:nvSpPr>
        <p:spPr>
          <a:xfrm>
            <a:off x="7249362" y="3457670"/>
            <a:ext cx="1566518" cy="529670"/>
          </a:xfrm>
          <a:prstGeom prst="wedgeRectCallout">
            <a:avLst>
              <a:gd name="adj1" fmla="val -70888"/>
              <a:gd name="adj2" fmla="val -28789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800">
                <a:cs typeface="Arial"/>
              </a:rPr>
              <a:t>Finnmark og deler av Troms har fritak for el-avgift</a:t>
            </a:r>
            <a:endParaRPr lang="nb-NO" sz="800"/>
          </a:p>
        </p:txBody>
      </p:sp>
      <p:sp>
        <p:nvSpPr>
          <p:cNvPr id="6" name="Speech Bubble: Rectangle 10">
            <a:extLst>
              <a:ext uri="{FF2B5EF4-FFF2-40B4-BE49-F238E27FC236}">
                <a16:creationId xmlns:a16="http://schemas.microsoft.com/office/drawing/2014/main" id="{43281BD6-61B8-4DBB-3558-178E91D04924}"/>
              </a:ext>
            </a:extLst>
          </p:cNvPr>
          <p:cNvSpPr/>
          <p:nvPr/>
        </p:nvSpPr>
        <p:spPr>
          <a:xfrm>
            <a:off x="7238094" y="2555875"/>
            <a:ext cx="1566518" cy="529670"/>
          </a:xfrm>
          <a:prstGeom prst="wedgeRectCallout">
            <a:avLst>
              <a:gd name="adj1" fmla="val -72477"/>
              <a:gd name="adj2" fmla="val -13688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>
                <a:cs typeface="Arial"/>
              </a:rPr>
              <a:t>Dette går til nettselskapet for å bygge, drifte og vedlikeholde strømnettet</a:t>
            </a:r>
            <a:endParaRPr lang="nb-NO" sz="800"/>
          </a:p>
        </p:txBody>
      </p:sp>
      <p:sp>
        <p:nvSpPr>
          <p:cNvPr id="27" name="Snakkeboble: rektangel 26">
            <a:extLst>
              <a:ext uri="{FF2B5EF4-FFF2-40B4-BE49-F238E27FC236}">
                <a16:creationId xmlns:a16="http://schemas.microsoft.com/office/drawing/2014/main" id="{1D503F1E-631A-06BB-9FA6-AB5D4E68E9D8}"/>
              </a:ext>
            </a:extLst>
          </p:cNvPr>
          <p:cNvSpPr/>
          <p:nvPr/>
        </p:nvSpPr>
        <p:spPr>
          <a:xfrm>
            <a:off x="7249362" y="4017182"/>
            <a:ext cx="1631164" cy="338904"/>
          </a:xfrm>
          <a:prstGeom prst="wedgeRectCallout">
            <a:avLst>
              <a:gd name="adj1" fmla="val -71959"/>
              <a:gd name="adj2" fmla="val -48322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/>
              <a:t>Nord-Norge har fritak for MVA på strøm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900DDBDD-1832-6A0C-F937-3CBEE583917D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/>
              <a:t>Tall er norske kroner der ikke annet er oppgitt</a:t>
            </a:r>
          </a:p>
        </p:txBody>
      </p:sp>
      <p:graphicFrame>
        <p:nvGraphicFramePr>
          <p:cNvPr id="5" name="Tabell 4">
            <a:extLst>
              <a:ext uri="{FF2B5EF4-FFF2-40B4-BE49-F238E27FC236}">
                <a16:creationId xmlns:a16="http://schemas.microsoft.com/office/drawing/2014/main" id="{B52E6EF5-C6A1-1F33-3F29-A9CC13B637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5389612"/>
              </p:ext>
            </p:extLst>
          </p:nvPr>
        </p:nvGraphicFramePr>
        <p:xfrm>
          <a:off x="328119" y="1107970"/>
          <a:ext cx="6637313" cy="3473625"/>
        </p:xfrm>
        <a:graphic>
          <a:graphicData uri="http://schemas.openxmlformats.org/drawingml/2006/table">
            <a:tbl>
              <a:tblPr>
                <a:tableStyleId>{125E5076-3810-47DD-B79F-674D7AD40C01}</a:tableStyleId>
              </a:tblPr>
              <a:tblGrid>
                <a:gridCol w="1852558">
                  <a:extLst>
                    <a:ext uri="{9D8B030D-6E8A-4147-A177-3AD203B41FA5}">
                      <a16:colId xmlns:a16="http://schemas.microsoft.com/office/drawing/2014/main" val="3640256844"/>
                    </a:ext>
                  </a:extLst>
                </a:gridCol>
                <a:gridCol w="956951">
                  <a:extLst>
                    <a:ext uri="{9D8B030D-6E8A-4147-A177-3AD203B41FA5}">
                      <a16:colId xmlns:a16="http://schemas.microsoft.com/office/drawing/2014/main" val="689700927"/>
                    </a:ext>
                  </a:extLst>
                </a:gridCol>
                <a:gridCol w="956951">
                  <a:extLst>
                    <a:ext uri="{9D8B030D-6E8A-4147-A177-3AD203B41FA5}">
                      <a16:colId xmlns:a16="http://schemas.microsoft.com/office/drawing/2014/main" val="1571335269"/>
                    </a:ext>
                  </a:extLst>
                </a:gridCol>
                <a:gridCol w="956951">
                  <a:extLst>
                    <a:ext uri="{9D8B030D-6E8A-4147-A177-3AD203B41FA5}">
                      <a16:colId xmlns:a16="http://schemas.microsoft.com/office/drawing/2014/main" val="1894363508"/>
                    </a:ext>
                  </a:extLst>
                </a:gridCol>
                <a:gridCol w="956951">
                  <a:extLst>
                    <a:ext uri="{9D8B030D-6E8A-4147-A177-3AD203B41FA5}">
                      <a16:colId xmlns:a16="http://schemas.microsoft.com/office/drawing/2014/main" val="3517020402"/>
                    </a:ext>
                  </a:extLst>
                </a:gridCol>
                <a:gridCol w="956951">
                  <a:extLst>
                    <a:ext uri="{9D8B030D-6E8A-4147-A177-3AD203B41FA5}">
                      <a16:colId xmlns:a16="http://schemas.microsoft.com/office/drawing/2014/main" val="4206496902"/>
                    </a:ext>
                  </a:extLst>
                </a:gridCol>
              </a:tblGrid>
              <a:tr h="23157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Prisområde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1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2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3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4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5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2759171686"/>
                  </a:ext>
                </a:extLst>
              </a:tr>
              <a:tr h="23157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Gjennomsnittlig forbruk (KWh)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00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06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22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73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06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262943535"/>
                  </a:ext>
                </a:extLst>
              </a:tr>
              <a:tr h="23157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regning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70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79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0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6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7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3026627012"/>
                  </a:ext>
                </a:extLst>
              </a:tr>
              <a:tr h="23157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Spotpris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616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70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0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8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1918715388"/>
                  </a:ext>
                </a:extLst>
              </a:tr>
              <a:tr h="23157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Fastpris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2245101658"/>
                  </a:ext>
                </a:extLst>
              </a:tr>
              <a:tr h="23157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Påslag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5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5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6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87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5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766050225"/>
                  </a:ext>
                </a:extLst>
              </a:tr>
              <a:tr h="23157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ettlei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1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3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81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1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9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1482086754"/>
                  </a:ext>
                </a:extLst>
              </a:tr>
              <a:tr h="23157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Energiledd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07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6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56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5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8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29081278"/>
                  </a:ext>
                </a:extLst>
              </a:tr>
              <a:tr h="23157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Kapasitetsledd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0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7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2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6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0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161447001"/>
                  </a:ext>
                </a:extLst>
              </a:tr>
              <a:tr h="23157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Avgifter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7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4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71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1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0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2315332271"/>
                  </a:ext>
                </a:extLst>
              </a:tr>
              <a:tr h="23157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el-avgift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6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7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07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9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8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3382545723"/>
                  </a:ext>
                </a:extLst>
              </a:tr>
              <a:tr h="23157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ENOVA-avgift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7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2116286665"/>
                  </a:ext>
                </a:extLst>
              </a:tr>
              <a:tr h="23157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MVA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30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35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5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316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3415470221"/>
                  </a:ext>
                </a:extLst>
              </a:tr>
              <a:tr h="23157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støtt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6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8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1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1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1629300687"/>
                  </a:ext>
                </a:extLst>
              </a:tr>
              <a:tr h="23157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Totalt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43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69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26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991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56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1476688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5443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4156261-E1C9-2286-1892-F2CC3F37C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edlegg 2: Detaljerte sammenligninger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1C49259-E8DF-C4CD-6DCB-0BF59C9472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4534897E-F465-C561-2DE7-E7BB40E3D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7</a:t>
            </a:fld>
            <a:endParaRPr lang="nb-NO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57A60D7B-702C-A706-64FD-CDEEDECD6266}"/>
              </a:ext>
            </a:extLst>
          </p:cNvPr>
          <p:cNvSpPr txBox="1"/>
          <p:nvPr/>
        </p:nvSpPr>
        <p:spPr>
          <a:xfrm>
            <a:off x="755121" y="4743107"/>
            <a:ext cx="82530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>
                <a:solidFill>
                  <a:schemeClr val="accent2">
                    <a:lumMod val="50000"/>
                  </a:schemeClr>
                </a:solidFill>
              </a:rPr>
              <a:t>Kun regningsposter som varierer fra måned til måned, tall er norske kroner der ikke annet er oppgitt</a:t>
            </a:r>
          </a:p>
        </p:txBody>
      </p:sp>
      <p:graphicFrame>
        <p:nvGraphicFramePr>
          <p:cNvPr id="6" name="Tabell 5">
            <a:extLst>
              <a:ext uri="{FF2B5EF4-FFF2-40B4-BE49-F238E27FC236}">
                <a16:creationId xmlns:a16="http://schemas.microsoft.com/office/drawing/2014/main" id="{9975EEC3-1057-04CD-2943-C72D219837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3804991"/>
              </p:ext>
            </p:extLst>
          </p:nvPr>
        </p:nvGraphicFramePr>
        <p:xfrm>
          <a:off x="4673349" y="2305660"/>
          <a:ext cx="4334820" cy="2297554"/>
        </p:xfrm>
        <a:graphic>
          <a:graphicData uri="http://schemas.openxmlformats.org/drawingml/2006/table">
            <a:tbl>
              <a:tblPr>
                <a:tableStyleId>{125E5076-3810-47DD-B79F-674D7AD40C01}</a:tableStyleId>
              </a:tblPr>
              <a:tblGrid>
                <a:gridCol w="1172815">
                  <a:extLst>
                    <a:ext uri="{9D8B030D-6E8A-4147-A177-3AD203B41FA5}">
                      <a16:colId xmlns:a16="http://schemas.microsoft.com/office/drawing/2014/main" val="2776248199"/>
                    </a:ext>
                  </a:extLst>
                </a:gridCol>
                <a:gridCol w="639580">
                  <a:extLst>
                    <a:ext uri="{9D8B030D-6E8A-4147-A177-3AD203B41FA5}">
                      <a16:colId xmlns:a16="http://schemas.microsoft.com/office/drawing/2014/main" val="3354644547"/>
                    </a:ext>
                  </a:extLst>
                </a:gridCol>
                <a:gridCol w="624590">
                  <a:extLst>
                    <a:ext uri="{9D8B030D-6E8A-4147-A177-3AD203B41FA5}">
                      <a16:colId xmlns:a16="http://schemas.microsoft.com/office/drawing/2014/main" val="3109699313"/>
                    </a:ext>
                  </a:extLst>
                </a:gridCol>
                <a:gridCol w="629587">
                  <a:extLst>
                    <a:ext uri="{9D8B030D-6E8A-4147-A177-3AD203B41FA5}">
                      <a16:colId xmlns:a16="http://schemas.microsoft.com/office/drawing/2014/main" val="2868875021"/>
                    </a:ext>
                  </a:extLst>
                </a:gridCol>
                <a:gridCol w="629587">
                  <a:extLst>
                    <a:ext uri="{9D8B030D-6E8A-4147-A177-3AD203B41FA5}">
                      <a16:colId xmlns:a16="http://schemas.microsoft.com/office/drawing/2014/main" val="1970349642"/>
                    </a:ext>
                  </a:extLst>
                </a:gridCol>
                <a:gridCol w="638661">
                  <a:extLst>
                    <a:ext uri="{9D8B030D-6E8A-4147-A177-3AD203B41FA5}">
                      <a16:colId xmlns:a16="http://schemas.microsoft.com/office/drawing/2014/main" val="355301520"/>
                    </a:ext>
                  </a:extLst>
                </a:gridCol>
              </a:tblGrid>
              <a:tr h="322615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April 2025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1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2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3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4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5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6414165"/>
                  </a:ext>
                </a:extLst>
              </a:tr>
              <a:tr h="462781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0" u="none" strike="noStrike">
                          <a:effectLst/>
                        </a:rPr>
                        <a:t>Gjennomsnittlig forbruk (KWh)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0" u="none" strike="noStrike">
                          <a:effectLst/>
                        </a:rPr>
                        <a:t>100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0" u="none" strike="noStrike">
                          <a:effectLst/>
                        </a:rPr>
                        <a:t>106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0" u="none" strike="noStrike">
                          <a:effectLst/>
                        </a:rPr>
                        <a:t>122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0" u="none" strike="noStrike">
                          <a:effectLst/>
                        </a:rPr>
                        <a:t>1731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0" u="none" strike="noStrike">
                          <a:effectLst/>
                        </a:rPr>
                        <a:t>1069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0102345"/>
                  </a:ext>
                </a:extLst>
              </a:tr>
              <a:tr h="311388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Strømregning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706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794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309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67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577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0098767"/>
                  </a:ext>
                </a:extLst>
              </a:tr>
              <a:tr h="172038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u="none" strike="noStrike">
                          <a:effectLst/>
                        </a:rPr>
                        <a:t>Spotpris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616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701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208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4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484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7820048"/>
                  </a:ext>
                </a:extLst>
              </a:tr>
              <a:tr h="172038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ettleie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315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34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81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514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93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4104162"/>
                  </a:ext>
                </a:extLst>
              </a:tr>
              <a:tr h="311388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u="none" strike="noStrike">
                          <a:effectLst/>
                        </a:rPr>
                        <a:t>Kapasitetsledd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08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72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22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263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208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1095846"/>
                  </a:ext>
                </a:extLst>
              </a:tr>
              <a:tr h="172038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Avgifter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79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544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71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31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507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8173180"/>
                  </a:ext>
                </a:extLst>
              </a:tr>
              <a:tr h="172038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Strømstøtte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68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82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1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1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7553487"/>
                  </a:ext>
                </a:extLst>
              </a:tr>
              <a:tr h="201230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Totalt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432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69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26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991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568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2359117"/>
                  </a:ext>
                </a:extLst>
              </a:tr>
            </a:tbl>
          </a:graphicData>
        </a:graphic>
      </p:graphicFrame>
      <p:graphicFrame>
        <p:nvGraphicFramePr>
          <p:cNvPr id="7" name="Tabell 6">
            <a:extLst>
              <a:ext uri="{FF2B5EF4-FFF2-40B4-BE49-F238E27FC236}">
                <a16:creationId xmlns:a16="http://schemas.microsoft.com/office/drawing/2014/main" id="{DCCC51A1-E58C-5D6D-89CB-C12FDAF9E2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7235038"/>
              </p:ext>
            </p:extLst>
          </p:nvPr>
        </p:nvGraphicFramePr>
        <p:xfrm>
          <a:off x="0" y="2305661"/>
          <a:ext cx="4673346" cy="2297554"/>
        </p:xfrm>
        <a:graphic>
          <a:graphicData uri="http://schemas.openxmlformats.org/drawingml/2006/table">
            <a:tbl>
              <a:tblPr>
                <a:tableStyleId>{8FD4443E-F989-4FC4-A0C8-D5A2AF1F390B}</a:tableStyleId>
              </a:tblPr>
              <a:tblGrid>
                <a:gridCol w="1292446">
                  <a:extLst>
                    <a:ext uri="{9D8B030D-6E8A-4147-A177-3AD203B41FA5}">
                      <a16:colId xmlns:a16="http://schemas.microsoft.com/office/drawing/2014/main" val="175232900"/>
                    </a:ext>
                  </a:extLst>
                </a:gridCol>
                <a:gridCol w="676180">
                  <a:extLst>
                    <a:ext uri="{9D8B030D-6E8A-4147-A177-3AD203B41FA5}">
                      <a16:colId xmlns:a16="http://schemas.microsoft.com/office/drawing/2014/main" val="1469884747"/>
                    </a:ext>
                  </a:extLst>
                </a:gridCol>
                <a:gridCol w="676180">
                  <a:extLst>
                    <a:ext uri="{9D8B030D-6E8A-4147-A177-3AD203B41FA5}">
                      <a16:colId xmlns:a16="http://schemas.microsoft.com/office/drawing/2014/main" val="21131908"/>
                    </a:ext>
                  </a:extLst>
                </a:gridCol>
                <a:gridCol w="676180">
                  <a:extLst>
                    <a:ext uri="{9D8B030D-6E8A-4147-A177-3AD203B41FA5}">
                      <a16:colId xmlns:a16="http://schemas.microsoft.com/office/drawing/2014/main" val="1954066531"/>
                    </a:ext>
                  </a:extLst>
                </a:gridCol>
                <a:gridCol w="676180">
                  <a:extLst>
                    <a:ext uri="{9D8B030D-6E8A-4147-A177-3AD203B41FA5}">
                      <a16:colId xmlns:a16="http://schemas.microsoft.com/office/drawing/2014/main" val="2033213768"/>
                    </a:ext>
                  </a:extLst>
                </a:gridCol>
                <a:gridCol w="676180">
                  <a:extLst>
                    <a:ext uri="{9D8B030D-6E8A-4147-A177-3AD203B41FA5}">
                      <a16:colId xmlns:a16="http://schemas.microsoft.com/office/drawing/2014/main" val="1494894683"/>
                    </a:ext>
                  </a:extLst>
                </a:gridCol>
              </a:tblGrid>
              <a:tr h="323873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Mars 2025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1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2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3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4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5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9211055"/>
                  </a:ext>
                </a:extLst>
              </a:tr>
              <a:tr h="444574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u="none" strike="noStrike">
                          <a:effectLst/>
                        </a:rPr>
                        <a:t>Gjennomsnittlig forbruk (KWh)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392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424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513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989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404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4821294"/>
                  </a:ext>
                </a:extLst>
              </a:tr>
              <a:tr h="311202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Strømregning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852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938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18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26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763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1744886"/>
                  </a:ext>
                </a:extLst>
              </a:tr>
              <a:tr h="177830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u="none" strike="noStrike">
                          <a:effectLst/>
                        </a:rPr>
                        <a:t>Spotpris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743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827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302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21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653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2190212"/>
                  </a:ext>
                </a:extLst>
              </a:tr>
              <a:tr h="172891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ettleie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59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563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543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553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583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050898"/>
                  </a:ext>
                </a:extLst>
              </a:tr>
              <a:tr h="296383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u="none" strike="noStrike">
                          <a:effectLst/>
                        </a:rPr>
                        <a:t>Kapasitetsledd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72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211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22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263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208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7387715"/>
                  </a:ext>
                </a:extLst>
              </a:tr>
              <a:tr h="167951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Avgifter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516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567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44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215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526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9849567"/>
                  </a:ext>
                </a:extLst>
              </a:tr>
              <a:tr h="177829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Strømstøtte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48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91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12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1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14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9749053"/>
                  </a:ext>
                </a:extLst>
              </a:tr>
              <a:tr h="225021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Totalt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779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978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394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027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858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7345334"/>
                  </a:ext>
                </a:extLst>
              </a:tr>
            </a:tbl>
          </a:graphicData>
        </a:graphic>
      </p:graphicFrame>
      <p:graphicFrame>
        <p:nvGraphicFramePr>
          <p:cNvPr id="8" name="Tabell 7">
            <a:extLst>
              <a:ext uri="{FF2B5EF4-FFF2-40B4-BE49-F238E27FC236}">
                <a16:creationId xmlns:a16="http://schemas.microsoft.com/office/drawing/2014/main" id="{3A4DE90A-B19C-0EED-4FB2-AADC27BEDF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5121012"/>
              </p:ext>
            </p:extLst>
          </p:nvPr>
        </p:nvGraphicFramePr>
        <p:xfrm>
          <a:off x="4673346" y="157769"/>
          <a:ext cx="4334820" cy="2147888"/>
        </p:xfrm>
        <a:graphic>
          <a:graphicData uri="http://schemas.openxmlformats.org/drawingml/2006/table">
            <a:tbl>
              <a:tblPr>
                <a:tableStyleId>{306799F8-075E-4A3A-A7F6-7FBC6576F1A4}</a:tableStyleId>
              </a:tblPr>
              <a:tblGrid>
                <a:gridCol w="1167821">
                  <a:extLst>
                    <a:ext uri="{9D8B030D-6E8A-4147-A177-3AD203B41FA5}">
                      <a16:colId xmlns:a16="http://schemas.microsoft.com/office/drawing/2014/main" val="2101275120"/>
                    </a:ext>
                  </a:extLst>
                </a:gridCol>
                <a:gridCol w="639581">
                  <a:extLst>
                    <a:ext uri="{9D8B030D-6E8A-4147-A177-3AD203B41FA5}">
                      <a16:colId xmlns:a16="http://schemas.microsoft.com/office/drawing/2014/main" val="3655114473"/>
                    </a:ext>
                  </a:extLst>
                </a:gridCol>
                <a:gridCol w="639580">
                  <a:extLst>
                    <a:ext uri="{9D8B030D-6E8A-4147-A177-3AD203B41FA5}">
                      <a16:colId xmlns:a16="http://schemas.microsoft.com/office/drawing/2014/main" val="1858206355"/>
                    </a:ext>
                  </a:extLst>
                </a:gridCol>
                <a:gridCol w="624590">
                  <a:extLst>
                    <a:ext uri="{9D8B030D-6E8A-4147-A177-3AD203B41FA5}">
                      <a16:colId xmlns:a16="http://schemas.microsoft.com/office/drawing/2014/main" val="3557169832"/>
                    </a:ext>
                  </a:extLst>
                </a:gridCol>
                <a:gridCol w="619593">
                  <a:extLst>
                    <a:ext uri="{9D8B030D-6E8A-4147-A177-3AD203B41FA5}">
                      <a16:colId xmlns:a16="http://schemas.microsoft.com/office/drawing/2014/main" val="310984394"/>
                    </a:ext>
                  </a:extLst>
                </a:gridCol>
                <a:gridCol w="643655">
                  <a:extLst>
                    <a:ext uri="{9D8B030D-6E8A-4147-A177-3AD203B41FA5}">
                      <a16:colId xmlns:a16="http://schemas.microsoft.com/office/drawing/2014/main" val="1265773315"/>
                    </a:ext>
                  </a:extLst>
                </a:gridCol>
              </a:tblGrid>
              <a:tr h="296317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April 2024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1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2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3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4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5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0224586"/>
                  </a:ext>
                </a:extLst>
              </a:tr>
              <a:tr h="440382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u="none" strike="noStrike">
                          <a:effectLst/>
                        </a:rPr>
                        <a:t>Gjennomsnittlig forbruk (KWh)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199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2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293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81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203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1598326"/>
                  </a:ext>
                </a:extLst>
              </a:tr>
              <a:tr h="296317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Strømregning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83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842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863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023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871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1880352"/>
                  </a:ext>
                </a:extLst>
              </a:tr>
              <a:tr h="163711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u="none" strike="noStrike">
                          <a:effectLst/>
                        </a:rPr>
                        <a:t>Spotpris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73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741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758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892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771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0905698"/>
                  </a:ext>
                </a:extLst>
              </a:tr>
              <a:tr h="163711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ettleie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383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57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64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555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62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5640267"/>
                  </a:ext>
                </a:extLst>
              </a:tr>
              <a:tr h="296317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u="none" strike="noStrike">
                          <a:effectLst/>
                        </a:rPr>
                        <a:t>Kapasitetsledd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52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9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211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291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6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459860"/>
                  </a:ext>
                </a:extLst>
              </a:tr>
              <a:tr h="163711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Avgifter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565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593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613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317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596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9038102"/>
                  </a:ext>
                </a:extLst>
              </a:tr>
              <a:tr h="163711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Strømstøtte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58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59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58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41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54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3063417"/>
                  </a:ext>
                </a:extLst>
              </a:tr>
              <a:tr h="163711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Totalt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719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834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882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853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875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92487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97808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E601A1A-2629-9E12-9DFE-9BDAC856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0887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601A1A-2629-9E12-9DFE-9BDAC856E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53928CA-7646-A487-8996-CE97A6275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81775C7B-262E-DE67-74E1-4F51072BE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8</a:t>
            </a:fld>
            <a:endParaRPr lang="nb-NO"/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E74EA589-72EA-AA47-0E44-BCAE8A4D908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14657" y="565791"/>
            <a:ext cx="5453738" cy="4090304"/>
          </a:xfrm>
          <a:prstGeom prst="rect">
            <a:avLst/>
          </a:prstGeom>
        </p:spPr>
      </p:pic>
      <p:sp>
        <p:nvSpPr>
          <p:cNvPr id="16" name="Tittel 1">
            <a:extLst>
              <a:ext uri="{FF2B5EF4-FFF2-40B4-BE49-F238E27FC236}">
                <a16:creationId xmlns:a16="http://schemas.microsoft.com/office/drawing/2014/main" id="{05F1EE16-5CB9-787E-C19C-5D8FCB48A6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7955" y="233392"/>
            <a:ext cx="5359586" cy="664797"/>
          </a:xfrm>
        </p:spPr>
        <p:txBody>
          <a:bodyPr vert="horz"/>
          <a:lstStyle/>
          <a:p>
            <a:r>
              <a:rPr lang="nb-NO">
                <a:solidFill>
                  <a:schemeClr val="accent5">
                    <a:lumMod val="75000"/>
                  </a:schemeClr>
                </a:solidFill>
                <a:cs typeface="Arial"/>
              </a:rPr>
              <a:t>Vedlegg 3: Utvikling over tid</a:t>
            </a:r>
            <a:endParaRPr lang="nb-NO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83098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11DC7983-AF56-DA6E-FD76-B992BE953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D8E7AAE4-9C48-F891-CECC-311D27CEB3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9</a:t>
            </a:fld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E9729696-B0DE-A8A9-6827-7D49787D48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a er strømprisindeksen?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B2E2DCC4-3775-3A0B-A70F-0A1A7ADFC6B2}"/>
              </a:ext>
            </a:extLst>
          </p:cNvPr>
          <p:cNvSpPr txBox="1">
            <a:spLocks/>
          </p:cNvSpPr>
          <p:nvPr/>
        </p:nvSpPr>
        <p:spPr>
          <a:xfrm>
            <a:off x="457257" y="1951308"/>
            <a:ext cx="5676565" cy="233933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Fornybar Norges strømprisindeks viser hva en gjennomsnittlig husholdning i hvert av de fem norske prisområdene for strøm kan regne med å betale i strømregning, sammenliknet med forrige måned og samme måned forrige år. </a:t>
            </a:r>
          </a:p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Utregningen er basert på faktiske priser og gjennomsnittlig forbruk i de fem prisområdene, samt nettleie og avgifter. For strømpris er det tatt utgangspunkt i en vanlig spotprisavtale med et påslag på 5 øre/kWh og 40 kroner i fast månedsbeløp. Nettleie er basert på et vektet gjennomsnitt av prisene til de største nettselskapene i hvert prisområde. Tallene er innhentet fra Nord Pool, </a:t>
            </a:r>
            <a:r>
              <a:rPr lang="nb-NO" sz="1100" kern="100" err="1">
                <a:ea typeface="Calibri" panose="020F0502020204030204" pitchFamily="34" charset="0"/>
                <a:cs typeface="Times New Roman" panose="02020603050405020304" pitchFamily="18" charset="0"/>
              </a:rPr>
              <a:t>Elhub</a:t>
            </a: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 og nettselskapene. </a:t>
            </a:r>
          </a:p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Hensikten med strømprisindeksen er å gi norske strømkunder bedre innsikt i hvordan strømprisene utvikler seg over tid, hva som påvirker dem og hvordan strømregningen er sammensatt.</a:t>
            </a:r>
          </a:p>
        </p:txBody>
      </p:sp>
    </p:spTree>
    <p:extLst>
      <p:ext uri="{BB962C8B-B14F-4D97-AF65-F5344CB8AC3E}">
        <p14:creationId xmlns:p14="http://schemas.microsoft.com/office/powerpoint/2010/main" val="2053668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8C00FC"/>
      </a:dk2>
      <a:lt2>
        <a:srgbClr val="E7E6E6"/>
      </a:lt2>
      <a:accent1>
        <a:srgbClr val="440185"/>
      </a:accent1>
      <a:accent2>
        <a:srgbClr val="E7CCFF"/>
      </a:accent2>
      <a:accent3>
        <a:srgbClr val="00583C"/>
      </a:accent3>
      <a:accent4>
        <a:srgbClr val="4BF0C5"/>
      </a:accent4>
      <a:accent5>
        <a:srgbClr val="8C00FC"/>
      </a:accent5>
      <a:accent6>
        <a:srgbClr val="7F7F7F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ornybar norge.potx" id="{CF955149-A45B-49C3-8711-FB8A3A82D5DB}" vid="{7748E326-CEB4-4244-8570-03EBA8BF589D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0D682D32-1B9D-400A-8463-203F70C35850}">
  <we:reference id="7606cf59-4db8-48a8-b0a0-8d865e20ba2f" version="2.0.0.0" store="\\JØRGEN-JOBB\Users\JørgenBye\Drammen kommune" storeType="Filesystem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9119b49b-2cc3-444e-b755-8692f4554da6" ContentTypeId="0x0101" PreviousValue="false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f22a05a-b5e2-4bd8-b764-0ad6c193d339">
      <UserInfo>
        <DisplayName>Bård Standal</DisplayName>
        <AccountId>107</AccountId>
        <AccountType/>
      </UserInfo>
      <UserInfo>
        <DisplayName>Martin Ødegaard</DisplayName>
        <AccountId>93</AccountId>
        <AccountType/>
      </UserInfo>
      <UserInfo>
        <DisplayName>Aslak Øverås</DisplayName>
        <AccountId>29</AccountId>
        <AccountType/>
      </UserInfo>
      <UserInfo>
        <DisplayName>Sindre Sættem</DisplayName>
        <AccountId>54</AccountId>
        <AccountType/>
      </UserInfo>
      <UserInfo>
        <DisplayName>Camilla Vedeler</DisplayName>
        <AccountId>301</AccountId>
        <AccountType/>
      </UserInfo>
      <UserInfo>
        <DisplayName>Thor Egil Braadland</DisplayName>
        <AccountId>1058</AccountId>
        <AccountType/>
      </UserInfo>
      <UserInfo>
        <DisplayName>Iselin Ekeli Rønningsbakk</DisplayName>
        <AccountId>159</AccountId>
        <AccountType/>
      </UserInfo>
      <UserInfo>
        <DisplayName>Ingeborg Aarø</DisplayName>
        <AccountId>1762</AccountId>
        <AccountType/>
      </UserInfo>
    </SharedWithUsers>
    <Status xmlns="0f13f7a7-5a1c-4b07-a3f7-2a8c474a6703" xsi:nil="true"/>
    <Avsender xmlns="0f13f7a7-5a1c-4b07-a3f7-2a8c474a6703" xsi:nil="true"/>
    <TaxCatchAll xmlns="749ab8b6-ff35-4a4f-9f18-9cef83ce6420" xsi:nil="true"/>
    <Saksbehandler xmlns="0f13f7a7-5a1c-4b07-a3f7-2a8c474a6703">
      <UserInfo>
        <DisplayName/>
        <AccountId xsi:nil="true"/>
        <AccountType/>
      </UserInfo>
    </Saksbehandler>
    <Dokumentdato xmlns="0f13f7a7-5a1c-4b07-a3f7-2a8c474a6703" xsi:nil="true"/>
    <Produkt xmlns="0f13f7a7-5a1c-4b07-a3f7-2a8c474a6703" xsi:nil="true"/>
    <lcf76f155ced4ddcb4097134ff3c332f xmlns="0f13f7a7-5a1c-4b07-a3f7-2a8c474a6703">
      <Terms xmlns="http://schemas.microsoft.com/office/infopath/2007/PartnerControls"/>
    </lcf76f155ced4ddcb4097134ff3c332f>
    <_Flow_SignoffStatus xmlns="0f13f7a7-5a1c-4b07-a3f7-2a8c474a6703" xsi:nil="true"/>
    <Mottaker xmlns="0f13f7a7-5a1c-4b07-a3f7-2a8c474a6703" xsi:nil="true"/>
    <Inn_x002f_Intern_x002f_Ut xmlns="0f13f7a7-5a1c-4b07-a3f7-2a8c474a670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9BDB9F1F1BFE459CB1AB1E20AAA9DB" ma:contentTypeVersion="26" ma:contentTypeDescription="Create a new document." ma:contentTypeScope="" ma:versionID="99aff7ea4624003680649b90a7541005">
  <xsd:schema xmlns:xsd="http://www.w3.org/2001/XMLSchema" xmlns:xs="http://www.w3.org/2001/XMLSchema" xmlns:p="http://schemas.microsoft.com/office/2006/metadata/properties" xmlns:ns2="0f13f7a7-5a1c-4b07-a3f7-2a8c474a6703" xmlns:ns3="0f22a05a-b5e2-4bd8-b764-0ad6c193d339" xmlns:ns4="749ab8b6-ff35-4a4f-9f18-9cef83ce6420" targetNamespace="http://schemas.microsoft.com/office/2006/metadata/properties" ma:root="true" ma:fieldsID="9984d97b390f98546d3d7382bd1cc8f3" ns2:_="" ns3:_="" ns4:_="">
    <xsd:import namespace="0f13f7a7-5a1c-4b07-a3f7-2a8c474a6703"/>
    <xsd:import namespace="0f22a05a-b5e2-4bd8-b764-0ad6c193d339"/>
    <xsd:import namespace="749ab8b6-ff35-4a4f-9f18-9cef83ce6420"/>
    <xsd:element name="properties">
      <xsd:complexType>
        <xsd:sequence>
          <xsd:element name="documentManagement">
            <xsd:complexType>
              <xsd:all>
                <xsd:element ref="ns2:Dokumentdato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4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Saksbehandler" minOccurs="0"/>
                <xsd:element ref="ns2:Mottaker" minOccurs="0"/>
                <xsd:element ref="ns2:Avsender" minOccurs="0"/>
                <xsd:element ref="ns2:_Flow_SignoffStatus" minOccurs="0"/>
                <xsd:element ref="ns2:Status" minOccurs="0"/>
                <xsd:element ref="ns2:MediaServiceObjectDetectorVersions" minOccurs="0"/>
                <xsd:element ref="ns2:Produkt" minOccurs="0"/>
                <xsd:element ref="ns2:MediaServiceSearchProperties" minOccurs="0"/>
                <xsd:element ref="ns2:MediaServiceBillingMetadata" minOccurs="0"/>
                <xsd:element ref="ns2:Inn_x002f_Intern_x002f_U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13f7a7-5a1c-4b07-a3f7-2a8c474a6703" elementFormDefault="qualified">
    <xsd:import namespace="http://schemas.microsoft.com/office/2006/documentManagement/types"/>
    <xsd:import namespace="http://schemas.microsoft.com/office/infopath/2007/PartnerControls"/>
    <xsd:element name="Dokumentdato" ma:index="8" nillable="true" ma:displayName="Dokumentdato" ma:format="DateOnly" ma:internalName="Dokumentdato">
      <xsd:simpleType>
        <xsd:restriction base="dms:DateTime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9119b49b-2cc3-444e-b755-8692f4554da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Saksbehandler" ma:index="22" nillable="true" ma:displayName="Saksbehandler" ma:format="Dropdown" ma:list="UserInfo" ma:SharePointGroup="0" ma:internalName="Saksbehandl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ottaker" ma:index="23" nillable="true" ma:displayName="Mottaker" ma:format="Dropdown" ma:indexed="true" ma:internalName="Mottaker">
      <xsd:simpleType>
        <xsd:restriction base="dms:Text">
          <xsd:maxLength value="255"/>
        </xsd:restriction>
      </xsd:simpleType>
    </xsd:element>
    <xsd:element name="Avsender" ma:index="24" nillable="true" ma:displayName="Avsender" ma:format="Dropdown" ma:internalName="Avsender">
      <xsd:simpleType>
        <xsd:restriction base="dms:Text">
          <xsd:maxLength value="255"/>
        </xsd:restriction>
      </xsd:simpleType>
    </xsd:element>
    <xsd:element name="_Flow_SignoffStatus" ma:index="25" nillable="true" ma:displayName="Sign-off status" ma:internalName="Sign_x002d_off_x0020_status">
      <xsd:simpleType>
        <xsd:restriction base="dms:Text"/>
      </xsd:simpleType>
    </xsd:element>
    <xsd:element name="Status" ma:index="26" nillable="true" ma:displayName="Status" ma:format="Dropdown" ma:internalName="Status">
      <xsd:simpleType>
        <xsd:restriction base="dms:Text">
          <xsd:maxLength value="255"/>
        </xsd:restriction>
      </xsd:simple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Produkt" ma:index="28" nillable="true" ma:displayName="Produkt" ma:format="Dropdown" ma:internalName="Produkt">
      <xsd:simpleType>
        <xsd:restriction base="dms:Text">
          <xsd:maxLength value="255"/>
        </xsd:restriction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0" nillable="true" ma:displayName="MediaServiceBillingMetadata" ma:hidden="true" ma:internalName="MediaServiceBillingMetadata" ma:readOnly="true">
      <xsd:simpleType>
        <xsd:restriction base="dms:Note"/>
      </xsd:simpleType>
    </xsd:element>
    <xsd:element name="Inn_x002f_Intern_x002f_Ut" ma:index="31" nillable="true" ma:displayName="Inn/Intern/Ut" ma:description="Innkommende, internt eller utgående dokument" ma:format="Dropdown" ma:internalName="Inn_x002f_Intern_x002f_Ut">
      <xsd:simpleType>
        <xsd:restriction base="dms:Choice">
          <xsd:enumeration value="Inn"/>
          <xsd:enumeration value="Intern"/>
          <xsd:enumeration value="Ut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22a05a-b5e2-4bd8-b764-0ad6c193d33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9ab8b6-ff35-4a4f-9f18-9cef83ce6420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8b03620c-fac2-4011-801c-19735e004c3b}" ma:internalName="TaxCatchAll" ma:showField="CatchAllData" ma:web="0f22a05a-b5e2-4bd8-b764-0ad6c193d33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A46E27F-EC10-4651-9DBE-1F904980C632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D54E4824-219F-4E10-9EEA-EA03318A9FE2}">
  <ds:schemaRefs>
    <ds:schemaRef ds:uri="0f13f7a7-5a1c-4b07-a3f7-2a8c474a6703"/>
    <ds:schemaRef ds:uri="0f22a05a-b5e2-4bd8-b764-0ad6c193d339"/>
    <ds:schemaRef ds:uri="749ab8b6-ff35-4a4f-9f18-9cef83ce642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29AFC9C-0EF5-4D73-AC75-234BAC9ADE96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AF6D390B-DCDD-4E47-ABBD-8003A745E022}">
  <ds:schemaRefs>
    <ds:schemaRef ds:uri="0f13f7a7-5a1c-4b07-a3f7-2a8c474a6703"/>
    <ds:schemaRef ds:uri="0f22a05a-b5e2-4bd8-b764-0ad6c193d339"/>
    <ds:schemaRef ds:uri="749ab8b6-ff35-4a4f-9f18-9cef83ce642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ornybar_Norge_PowerPointmal Fullversjon</Template>
  <Application>Microsoft Office PowerPoint</Application>
  <PresentationFormat>Custom</PresentationFormat>
  <Slides>9</Slides>
  <Notes>2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Office-tema</vt:lpstr>
      <vt:lpstr>Strømprisindeksen for april 2025</vt:lpstr>
      <vt:lpstr>Sammenlikning april-mars</vt:lpstr>
      <vt:lpstr>Sammenligning april 2025-2024</vt:lpstr>
      <vt:lpstr>Kraftutveksling</vt:lpstr>
      <vt:lpstr>Hva forklarer strømprisene i april?</vt:lpstr>
      <vt:lpstr>Vedlegg 1: Detaljert regning for januar 2025</vt:lpstr>
      <vt:lpstr>Vedlegg 2: Detaljerte sammenligninger</vt:lpstr>
      <vt:lpstr>Vedlegg 3: Utvikling over tid</vt:lpstr>
      <vt:lpstr>Hva er strømprisindeksen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ømprisindeksen - oktober 2023</dc:title>
  <dc:creator>Camilla M. Granheim</dc:creator>
  <cp:revision>1</cp:revision>
  <dcterms:created xsi:type="dcterms:W3CDTF">2023-03-27T08:27:31Z</dcterms:created>
  <dcterms:modified xsi:type="dcterms:W3CDTF">2025-05-07T13:33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9BDB9F1F1BFE459CB1AB1E20AAA9DB</vt:lpwstr>
  </property>
  <property fmtid="{D5CDD505-2E9C-101B-9397-08002B2CF9AE}" pid="3" name="MediaServiceImageTags">
    <vt:lpwstr/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_activity">
    <vt:lpwstr>{"FileActivityType":"11","FileActivityTimeStamp":"2023-11-06T14:19:37.493Z","FileActivityUsersOnPage":[{"DisplayName":"Iselin Ekeli Rønningsbakk","Id":"iselin.ronningsbakk@fornybarnorge.no"},{"DisplayName":"Lars Tennbakk Bockman","Id":"lars.bockman@fornybarnorge.no"}],"FileActivityNavigationId":null}</vt:lpwstr>
  </property>
  <property fmtid="{D5CDD505-2E9C-101B-9397-08002B2CF9AE}" pid="7" name="TriggerFlowInfo">
    <vt:lpwstr/>
  </property>
</Properties>
</file>